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comments/comment2.xml" ContentType="application/vnd.openxmlformats-officedocument.presentationml.comment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6"/>
  </p:notesMasterIdLst>
  <p:handoutMasterIdLst>
    <p:handoutMasterId r:id="rId47"/>
  </p:handoutMasterIdLst>
  <p:sldIdLst>
    <p:sldId id="256" r:id="rId2"/>
    <p:sldId id="619" r:id="rId3"/>
    <p:sldId id="257" r:id="rId4"/>
    <p:sldId id="260" r:id="rId5"/>
    <p:sldId id="261" r:id="rId6"/>
    <p:sldId id="262" r:id="rId7"/>
    <p:sldId id="263" r:id="rId8"/>
    <p:sldId id="620" r:id="rId9"/>
    <p:sldId id="259" r:id="rId10"/>
    <p:sldId id="315" r:id="rId11"/>
    <p:sldId id="316" r:id="rId12"/>
    <p:sldId id="393" r:id="rId13"/>
    <p:sldId id="604" r:id="rId14"/>
    <p:sldId id="317" r:id="rId15"/>
    <p:sldId id="351" r:id="rId16"/>
    <p:sldId id="355" r:id="rId17"/>
    <p:sldId id="356" r:id="rId18"/>
    <p:sldId id="579" r:id="rId19"/>
    <p:sldId id="578" r:id="rId20"/>
    <p:sldId id="518" r:id="rId21"/>
    <p:sldId id="519" r:id="rId22"/>
    <p:sldId id="313" r:id="rId23"/>
    <p:sldId id="314" r:id="rId24"/>
    <p:sldId id="299" r:id="rId25"/>
    <p:sldId id="559" r:id="rId26"/>
    <p:sldId id="357" r:id="rId27"/>
    <p:sldId id="594" r:id="rId28"/>
    <p:sldId id="550" r:id="rId29"/>
    <p:sldId id="572" r:id="rId30"/>
    <p:sldId id="360" r:id="rId31"/>
    <p:sldId id="574" r:id="rId32"/>
    <p:sldId id="575" r:id="rId33"/>
    <p:sldId id="601" r:id="rId34"/>
    <p:sldId id="580" r:id="rId35"/>
    <p:sldId id="581" r:id="rId36"/>
    <p:sldId id="583" r:id="rId37"/>
    <p:sldId id="593" r:id="rId38"/>
    <p:sldId id="607" r:id="rId39"/>
    <p:sldId id="608" r:id="rId40"/>
    <p:sldId id="606" r:id="rId41"/>
    <p:sldId id="610" r:id="rId42"/>
    <p:sldId id="605" r:id="rId43"/>
    <p:sldId id="600" r:id="rId44"/>
    <p:sldId id="258" r:id="rId4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8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A. Sabet" initials="KAS" lastIdx="9" clrIdx="0">
    <p:extLst>
      <p:ext uri="{19B8F6BF-5375-455C-9EA6-DF929625EA0E}">
        <p15:presenceInfo xmlns:p15="http://schemas.microsoft.com/office/powerpoint/2012/main" userId="bea0ea41-5bd6-4815-9347-5e497e80d97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E8EF"/>
    <a:srgbClr val="ADDB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660"/>
  </p:normalViewPr>
  <p:slideViewPr>
    <p:cSldViewPr snapToGrid="0">
      <p:cViewPr varScale="1">
        <p:scale>
          <a:sx n="92" d="100"/>
          <a:sy n="92" d="100"/>
        </p:scale>
        <p:origin x="168" y="616"/>
      </p:cViewPr>
      <p:guideLst>
        <p:guide orient="horz" pos="7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7" d="100"/>
          <a:sy n="67" d="100"/>
        </p:scale>
        <p:origin x="274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commentAuthors" Target="commentAuthors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stin Luke Riley" userId="23cfa7f9b1f04783" providerId="LiveId" clId="{808AE92C-064A-0741-ADC5-FBC06D1EF404}"/>
    <pc:docChg chg="undo custSel addSld delSld modSld sldOrd">
      <pc:chgData name="Justin Luke Riley" userId="23cfa7f9b1f04783" providerId="LiveId" clId="{808AE92C-064A-0741-ADC5-FBC06D1EF404}" dt="2018-06-08T20:03:37.486" v="292" actId="1076"/>
      <pc:docMkLst>
        <pc:docMk/>
      </pc:docMkLst>
      <pc:sldChg chg="del">
        <pc:chgData name="Justin Luke Riley" userId="23cfa7f9b1f04783" providerId="LiveId" clId="{808AE92C-064A-0741-ADC5-FBC06D1EF404}" dt="2018-06-08T19:52:07.993" v="115" actId="2696"/>
        <pc:sldMkLst>
          <pc:docMk/>
          <pc:sldMk cId="4114400446" sldId="283"/>
        </pc:sldMkLst>
      </pc:sldChg>
      <pc:sldChg chg="delSp">
        <pc:chgData name="Justin Luke Riley" userId="23cfa7f9b1f04783" providerId="LiveId" clId="{808AE92C-064A-0741-ADC5-FBC06D1EF404}" dt="2018-06-08T19:28:43.382" v="0" actId="478"/>
        <pc:sldMkLst>
          <pc:docMk/>
          <pc:sldMk cId="884093298" sldId="351"/>
        </pc:sldMkLst>
        <pc:spChg chg="del">
          <ac:chgData name="Justin Luke Riley" userId="23cfa7f9b1f04783" providerId="LiveId" clId="{808AE92C-064A-0741-ADC5-FBC06D1EF404}" dt="2018-06-08T19:28:43.382" v="0" actId="478"/>
          <ac:spMkLst>
            <pc:docMk/>
            <pc:sldMk cId="884093298" sldId="351"/>
            <ac:spMk id="3" creationId="{00000000-0000-0000-0000-000000000000}"/>
          </ac:spMkLst>
        </pc:spChg>
      </pc:sldChg>
      <pc:sldChg chg="del">
        <pc:chgData name="Justin Luke Riley" userId="23cfa7f9b1f04783" providerId="LiveId" clId="{808AE92C-064A-0741-ADC5-FBC06D1EF404}" dt="2018-06-08T19:52:06.480" v="114" actId="2696"/>
        <pc:sldMkLst>
          <pc:docMk/>
          <pc:sldMk cId="516705893" sldId="352"/>
        </pc:sldMkLst>
      </pc:sldChg>
      <pc:sldChg chg="del">
        <pc:chgData name="Justin Luke Riley" userId="23cfa7f9b1f04783" providerId="LiveId" clId="{808AE92C-064A-0741-ADC5-FBC06D1EF404}" dt="2018-06-08T19:52:09.052" v="116" actId="2696"/>
        <pc:sldMkLst>
          <pc:docMk/>
          <pc:sldMk cId="1999558830" sldId="353"/>
        </pc:sldMkLst>
      </pc:sldChg>
      <pc:sldChg chg="modSp">
        <pc:chgData name="Justin Luke Riley" userId="23cfa7f9b1f04783" providerId="LiveId" clId="{808AE92C-064A-0741-ADC5-FBC06D1EF404}" dt="2018-06-08T19:29:04.030" v="4" actId="1076"/>
        <pc:sldMkLst>
          <pc:docMk/>
          <pc:sldMk cId="1989723275" sldId="355"/>
        </pc:sldMkLst>
        <pc:spChg chg="mod">
          <ac:chgData name="Justin Luke Riley" userId="23cfa7f9b1f04783" providerId="LiveId" clId="{808AE92C-064A-0741-ADC5-FBC06D1EF404}" dt="2018-06-08T19:29:04.030" v="4" actId="1076"/>
          <ac:spMkLst>
            <pc:docMk/>
            <pc:sldMk cId="1989723275" sldId="355"/>
            <ac:spMk id="21" creationId="{00000000-0000-0000-0000-000000000000}"/>
          </ac:spMkLst>
        </pc:spChg>
      </pc:sldChg>
      <pc:sldChg chg="del">
        <pc:chgData name="Justin Luke Riley" userId="23cfa7f9b1f04783" providerId="LiveId" clId="{808AE92C-064A-0741-ADC5-FBC06D1EF404}" dt="2018-06-08T19:51:03.847" v="108" actId="2696"/>
        <pc:sldMkLst>
          <pc:docMk/>
          <pc:sldMk cId="1049524940" sldId="362"/>
        </pc:sldMkLst>
      </pc:sldChg>
      <pc:sldChg chg="del">
        <pc:chgData name="Justin Luke Riley" userId="23cfa7f9b1f04783" providerId="LiveId" clId="{808AE92C-064A-0741-ADC5-FBC06D1EF404}" dt="2018-06-08T19:50:54.698" v="107" actId="2696"/>
        <pc:sldMkLst>
          <pc:docMk/>
          <pc:sldMk cId="380828756" sldId="363"/>
        </pc:sldMkLst>
      </pc:sldChg>
      <pc:sldChg chg="del">
        <pc:chgData name="Justin Luke Riley" userId="23cfa7f9b1f04783" providerId="LiveId" clId="{808AE92C-064A-0741-ADC5-FBC06D1EF404}" dt="2018-06-08T19:51:11.897" v="110" actId="2696"/>
        <pc:sldMkLst>
          <pc:docMk/>
          <pc:sldMk cId="3857590251" sldId="375"/>
        </pc:sldMkLst>
      </pc:sldChg>
      <pc:sldChg chg="del">
        <pc:chgData name="Justin Luke Riley" userId="23cfa7f9b1f04783" providerId="LiveId" clId="{808AE92C-064A-0741-ADC5-FBC06D1EF404}" dt="2018-06-08T19:51:13.062" v="111" actId="2696"/>
        <pc:sldMkLst>
          <pc:docMk/>
          <pc:sldMk cId="2745241245" sldId="376"/>
        </pc:sldMkLst>
      </pc:sldChg>
      <pc:sldChg chg="del">
        <pc:chgData name="Justin Luke Riley" userId="23cfa7f9b1f04783" providerId="LiveId" clId="{808AE92C-064A-0741-ADC5-FBC06D1EF404}" dt="2018-06-08T19:52:01.953" v="113" actId="2696"/>
        <pc:sldMkLst>
          <pc:docMk/>
          <pc:sldMk cId="1743031163" sldId="577"/>
        </pc:sldMkLst>
      </pc:sldChg>
      <pc:sldChg chg="del">
        <pc:chgData name="Justin Luke Riley" userId="23cfa7f9b1f04783" providerId="LiveId" clId="{808AE92C-064A-0741-ADC5-FBC06D1EF404}" dt="2018-06-08T19:51:08.948" v="109" actId="2696"/>
        <pc:sldMkLst>
          <pc:docMk/>
          <pc:sldMk cId="609830341" sldId="595"/>
        </pc:sldMkLst>
      </pc:sldChg>
      <pc:sldChg chg="del">
        <pc:chgData name="Justin Luke Riley" userId="23cfa7f9b1f04783" providerId="LiveId" clId="{808AE92C-064A-0741-ADC5-FBC06D1EF404}" dt="2018-06-08T19:52:24.527" v="117" actId="2696"/>
        <pc:sldMkLst>
          <pc:docMk/>
          <pc:sldMk cId="643995274" sldId="596"/>
        </pc:sldMkLst>
      </pc:sldChg>
      <pc:sldChg chg="ord">
        <pc:chgData name="Justin Luke Riley" userId="23cfa7f9b1f04783" providerId="LiveId" clId="{808AE92C-064A-0741-ADC5-FBC06D1EF404}" dt="2018-06-08T19:52:37.971" v="118" actId="1076"/>
        <pc:sldMkLst>
          <pc:docMk/>
          <pc:sldMk cId="2811022279" sldId="600"/>
        </pc:sldMkLst>
      </pc:sldChg>
      <pc:sldChg chg="del">
        <pc:chgData name="Justin Luke Riley" userId="23cfa7f9b1f04783" providerId="LiveId" clId="{808AE92C-064A-0741-ADC5-FBC06D1EF404}" dt="2018-06-08T19:51:26.068" v="112" actId="2696"/>
        <pc:sldMkLst>
          <pc:docMk/>
          <pc:sldMk cId="3141879995" sldId="603"/>
        </pc:sldMkLst>
      </pc:sldChg>
      <pc:sldChg chg="addSp delSp modSp add ord">
        <pc:chgData name="Justin Luke Riley" userId="23cfa7f9b1f04783" providerId="LiveId" clId="{808AE92C-064A-0741-ADC5-FBC06D1EF404}" dt="2018-06-08T20:03:37.486" v="292" actId="1076"/>
        <pc:sldMkLst>
          <pc:docMk/>
          <pc:sldMk cId="3438860927" sldId="605"/>
        </pc:sldMkLst>
        <pc:spChg chg="mod">
          <ac:chgData name="Justin Luke Riley" userId="23cfa7f9b1f04783" providerId="LiveId" clId="{808AE92C-064A-0741-ADC5-FBC06D1EF404}" dt="2018-06-08T20:03:31.541" v="291" actId="20577"/>
          <ac:spMkLst>
            <pc:docMk/>
            <pc:sldMk cId="3438860927" sldId="605"/>
            <ac:spMk id="2" creationId="{00000000-0000-0000-0000-000000000000}"/>
          </ac:spMkLst>
        </pc:spChg>
        <pc:spChg chg="del mod">
          <ac:chgData name="Justin Luke Riley" userId="23cfa7f9b1f04783" providerId="LiveId" clId="{808AE92C-064A-0741-ADC5-FBC06D1EF404}" dt="2018-06-08T19:33:56.093" v="40" actId="931"/>
          <ac:spMkLst>
            <pc:docMk/>
            <pc:sldMk cId="3438860927" sldId="605"/>
            <ac:spMk id="3" creationId="{00000000-0000-0000-0000-000000000000}"/>
          </ac:spMkLst>
        </pc:spChg>
        <pc:spChg chg="del">
          <ac:chgData name="Justin Luke Riley" userId="23cfa7f9b1f04783" providerId="LiveId" clId="{808AE92C-064A-0741-ADC5-FBC06D1EF404}" dt="2018-06-08T19:34:12.112" v="44" actId="478"/>
          <ac:spMkLst>
            <pc:docMk/>
            <pc:sldMk cId="3438860927" sldId="605"/>
            <ac:spMk id="9" creationId="{00000000-0000-0000-0000-000000000000}"/>
          </ac:spMkLst>
        </pc:spChg>
        <pc:picChg chg="add mod ord">
          <ac:chgData name="Justin Luke Riley" userId="23cfa7f9b1f04783" providerId="LiveId" clId="{808AE92C-064A-0741-ADC5-FBC06D1EF404}" dt="2018-06-08T19:34:20.415" v="46" actId="1076"/>
          <ac:picMkLst>
            <pc:docMk/>
            <pc:sldMk cId="3438860927" sldId="605"/>
            <ac:picMk id="4" creationId="{E05A95BC-8B8A-964E-9B31-1BF0C207EE8B}"/>
          </ac:picMkLst>
        </pc:picChg>
        <pc:picChg chg="del">
          <ac:chgData name="Justin Luke Riley" userId="23cfa7f9b1f04783" providerId="LiveId" clId="{808AE92C-064A-0741-ADC5-FBC06D1EF404}" dt="2018-06-08T19:30:36.150" v="32" actId="478"/>
          <ac:picMkLst>
            <pc:docMk/>
            <pc:sldMk cId="3438860927" sldId="605"/>
            <ac:picMk id="6" creationId="{00000000-0000-0000-0000-000000000000}"/>
          </ac:picMkLst>
        </pc:picChg>
      </pc:sldChg>
      <pc:sldChg chg="add del">
        <pc:chgData name="Justin Luke Riley" userId="23cfa7f9b1f04783" providerId="LiveId" clId="{808AE92C-064A-0741-ADC5-FBC06D1EF404}" dt="2018-06-08T19:31:55.207" v="37" actId="22"/>
        <pc:sldMkLst>
          <pc:docMk/>
          <pc:sldMk cId="1935189301" sldId="606"/>
        </pc:sldMkLst>
      </pc:sldChg>
      <pc:sldChg chg="addSp delSp modSp add">
        <pc:chgData name="Justin Luke Riley" userId="23cfa7f9b1f04783" providerId="LiveId" clId="{808AE92C-064A-0741-ADC5-FBC06D1EF404}" dt="2018-06-08T20:00:14.395" v="213" actId="20577"/>
        <pc:sldMkLst>
          <pc:docMk/>
          <pc:sldMk cId="2714422717" sldId="606"/>
        </pc:sldMkLst>
        <pc:spChg chg="mod">
          <ac:chgData name="Justin Luke Riley" userId="23cfa7f9b1f04783" providerId="LiveId" clId="{808AE92C-064A-0741-ADC5-FBC06D1EF404}" dt="2018-06-08T20:00:14.395" v="213" actId="20577"/>
          <ac:spMkLst>
            <pc:docMk/>
            <pc:sldMk cId="2714422717" sldId="606"/>
            <ac:spMk id="2" creationId="{00000000-0000-0000-0000-000000000000}"/>
          </ac:spMkLst>
        </pc:spChg>
        <pc:spChg chg="add del mod">
          <ac:chgData name="Justin Luke Riley" userId="23cfa7f9b1f04783" providerId="LiveId" clId="{808AE92C-064A-0741-ADC5-FBC06D1EF404}" dt="2018-06-08T19:38:12.639" v="52" actId="931"/>
          <ac:spMkLst>
            <pc:docMk/>
            <pc:sldMk cId="2714422717" sldId="606"/>
            <ac:spMk id="5" creationId="{7C96BD7A-5A87-C147-9B0E-C3CD62514451}"/>
          </ac:spMkLst>
        </pc:spChg>
        <pc:spChg chg="add del mod">
          <ac:chgData name="Justin Luke Riley" userId="23cfa7f9b1f04783" providerId="LiveId" clId="{808AE92C-064A-0741-ADC5-FBC06D1EF404}" dt="2018-06-08T19:49:44.554" v="94" actId="478"/>
          <ac:spMkLst>
            <pc:docMk/>
            <pc:sldMk cId="2714422717" sldId="606"/>
            <ac:spMk id="7" creationId="{F2ABBEB3-944D-5B44-8232-73D6730DFB6A}"/>
          </ac:spMkLst>
        </pc:spChg>
        <pc:picChg chg="del">
          <ac:chgData name="Justin Luke Riley" userId="23cfa7f9b1f04783" providerId="LiveId" clId="{808AE92C-064A-0741-ADC5-FBC06D1EF404}" dt="2018-06-08T19:36:01.356" v="48" actId="478"/>
          <ac:picMkLst>
            <pc:docMk/>
            <pc:sldMk cId="2714422717" sldId="606"/>
            <ac:picMk id="4" creationId="{E05A95BC-8B8A-964E-9B31-1BF0C207EE8B}"/>
          </ac:picMkLst>
        </pc:picChg>
        <pc:picChg chg="add mod ord">
          <ac:chgData name="Justin Luke Riley" userId="23cfa7f9b1f04783" providerId="LiveId" clId="{808AE92C-064A-0741-ADC5-FBC06D1EF404}" dt="2018-06-08T19:50:42.129" v="106" actId="14100"/>
          <ac:picMkLst>
            <pc:docMk/>
            <pc:sldMk cId="2714422717" sldId="606"/>
            <ac:picMk id="8" creationId="{30D29D0F-607D-EE4B-8E16-D0483D9BA142}"/>
          </ac:picMkLst>
        </pc:picChg>
        <pc:picChg chg="add mod">
          <ac:chgData name="Justin Luke Riley" userId="23cfa7f9b1f04783" providerId="LiveId" clId="{808AE92C-064A-0741-ADC5-FBC06D1EF404}" dt="2018-06-08T19:49:27.097" v="90" actId="1076"/>
          <ac:picMkLst>
            <pc:docMk/>
            <pc:sldMk cId="2714422717" sldId="606"/>
            <ac:picMk id="10" creationId="{72090B6E-57B0-744E-B2B5-3A99E293C79F}"/>
          </ac:picMkLst>
        </pc:picChg>
        <pc:picChg chg="add mod">
          <ac:chgData name="Justin Luke Riley" userId="23cfa7f9b1f04783" providerId="LiveId" clId="{808AE92C-064A-0741-ADC5-FBC06D1EF404}" dt="2018-06-08T19:49:29.750" v="91" actId="1076"/>
          <ac:picMkLst>
            <pc:docMk/>
            <pc:sldMk cId="2714422717" sldId="606"/>
            <ac:picMk id="12" creationId="{D2FD5C55-6E4F-F646-9D6B-EA0E0A541F31}"/>
          </ac:picMkLst>
        </pc:picChg>
        <pc:picChg chg="add mod">
          <ac:chgData name="Justin Luke Riley" userId="23cfa7f9b1f04783" providerId="LiveId" clId="{808AE92C-064A-0741-ADC5-FBC06D1EF404}" dt="2018-06-08T19:50:04.888" v="99" actId="1076"/>
          <ac:picMkLst>
            <pc:docMk/>
            <pc:sldMk cId="2714422717" sldId="606"/>
            <ac:picMk id="14" creationId="{1744AC9F-46F7-574D-8BEA-E532CE8D5248}"/>
          </ac:picMkLst>
        </pc:picChg>
        <pc:picChg chg="add mod">
          <ac:chgData name="Justin Luke Riley" userId="23cfa7f9b1f04783" providerId="LiveId" clId="{808AE92C-064A-0741-ADC5-FBC06D1EF404}" dt="2018-06-08T19:49:52.097" v="96" actId="1076"/>
          <ac:picMkLst>
            <pc:docMk/>
            <pc:sldMk cId="2714422717" sldId="606"/>
            <ac:picMk id="16" creationId="{C49208C8-CF60-4448-B5E1-3B8BCD04619D}"/>
          </ac:picMkLst>
        </pc:picChg>
      </pc:sldChg>
      <pc:sldChg chg="add del">
        <pc:chgData name="Justin Luke Riley" userId="23cfa7f9b1f04783" providerId="LiveId" clId="{808AE92C-064A-0741-ADC5-FBC06D1EF404}" dt="2018-06-08T19:32:40.059" v="39" actId="22"/>
        <pc:sldMkLst>
          <pc:docMk/>
          <pc:sldMk cId="3425483074" sldId="606"/>
        </pc:sldMkLst>
      </pc:sldChg>
      <pc:sldChg chg="add del">
        <pc:chgData name="Justin Luke Riley" userId="23cfa7f9b1f04783" providerId="LiveId" clId="{808AE92C-064A-0741-ADC5-FBC06D1EF404}" dt="2018-06-08T19:31:50.968" v="35" actId="22"/>
        <pc:sldMkLst>
          <pc:docMk/>
          <pc:sldMk cId="3526110790" sldId="606"/>
        </pc:sldMkLst>
      </pc:sldChg>
      <pc:sldChg chg="addSp delSp modSp add">
        <pc:chgData name="Justin Luke Riley" userId="23cfa7f9b1f04783" providerId="LiveId" clId="{808AE92C-064A-0741-ADC5-FBC06D1EF404}" dt="2018-06-08T20:00:03.779" v="179" actId="20577"/>
        <pc:sldMkLst>
          <pc:docMk/>
          <pc:sldMk cId="827094003" sldId="607"/>
        </pc:sldMkLst>
        <pc:spChg chg="mod">
          <ac:chgData name="Justin Luke Riley" userId="23cfa7f9b1f04783" providerId="LiveId" clId="{808AE92C-064A-0741-ADC5-FBC06D1EF404}" dt="2018-06-08T20:00:03.779" v="179" actId="20577"/>
          <ac:spMkLst>
            <pc:docMk/>
            <pc:sldMk cId="827094003" sldId="607"/>
            <ac:spMk id="2" creationId="{00000000-0000-0000-0000-000000000000}"/>
          </ac:spMkLst>
        </pc:spChg>
        <pc:spChg chg="add del mod">
          <ac:chgData name="Justin Luke Riley" userId="23cfa7f9b1f04783" providerId="LiveId" clId="{808AE92C-064A-0741-ADC5-FBC06D1EF404}" dt="2018-06-08T19:56:56.613" v="121" actId="931"/>
          <ac:spMkLst>
            <pc:docMk/>
            <pc:sldMk cId="827094003" sldId="607"/>
            <ac:spMk id="5" creationId="{458D3521-4991-9942-B7A3-875707956715}"/>
          </ac:spMkLst>
        </pc:spChg>
        <pc:picChg chg="del">
          <ac:chgData name="Justin Luke Riley" userId="23cfa7f9b1f04783" providerId="LiveId" clId="{808AE92C-064A-0741-ADC5-FBC06D1EF404}" dt="2018-06-08T19:56:41.663" v="120" actId="478"/>
          <ac:picMkLst>
            <pc:docMk/>
            <pc:sldMk cId="827094003" sldId="607"/>
            <ac:picMk id="4" creationId="{E05A95BC-8B8A-964E-9B31-1BF0C207EE8B}"/>
          </ac:picMkLst>
        </pc:picChg>
        <pc:picChg chg="add mod ord">
          <ac:chgData name="Justin Luke Riley" userId="23cfa7f9b1f04783" providerId="LiveId" clId="{808AE92C-064A-0741-ADC5-FBC06D1EF404}" dt="2018-06-08T19:57:09.892" v="124" actId="1076"/>
          <ac:picMkLst>
            <pc:docMk/>
            <pc:sldMk cId="827094003" sldId="607"/>
            <ac:picMk id="6" creationId="{80BE0EA0-6B6D-1448-BAFF-3D9C65762EED}"/>
          </ac:picMkLst>
        </pc:picChg>
      </pc:sldChg>
      <pc:sldChg chg="add del">
        <pc:chgData name="Justin Luke Riley" userId="23cfa7f9b1f04783" providerId="LiveId" clId="{808AE92C-064A-0741-ADC5-FBC06D1EF404}" dt="2018-06-08T19:58:47.036" v="126" actId="2696"/>
        <pc:sldMkLst>
          <pc:docMk/>
          <pc:sldMk cId="1826060865" sldId="608"/>
        </pc:sldMkLst>
      </pc:sldChg>
      <pc:sldChg chg="addSp delSp modSp add">
        <pc:chgData name="Justin Luke Riley" userId="23cfa7f9b1f04783" providerId="LiveId" clId="{808AE92C-064A-0741-ADC5-FBC06D1EF404}" dt="2018-06-08T19:59:51.890" v="158" actId="20577"/>
        <pc:sldMkLst>
          <pc:docMk/>
          <pc:sldMk cId="3727749042" sldId="608"/>
        </pc:sldMkLst>
        <pc:spChg chg="mod">
          <ac:chgData name="Justin Luke Riley" userId="23cfa7f9b1f04783" providerId="LiveId" clId="{808AE92C-064A-0741-ADC5-FBC06D1EF404}" dt="2018-06-08T19:59:51.890" v="158" actId="20577"/>
          <ac:spMkLst>
            <pc:docMk/>
            <pc:sldMk cId="3727749042" sldId="608"/>
            <ac:spMk id="2" creationId="{00000000-0000-0000-0000-000000000000}"/>
          </ac:spMkLst>
        </pc:spChg>
        <pc:spChg chg="add del mod">
          <ac:chgData name="Justin Luke Riley" userId="23cfa7f9b1f04783" providerId="LiveId" clId="{808AE92C-064A-0741-ADC5-FBC06D1EF404}" dt="2018-06-08T19:59:22.527" v="129" actId="931"/>
          <ac:spMkLst>
            <pc:docMk/>
            <pc:sldMk cId="3727749042" sldId="608"/>
            <ac:spMk id="4" creationId="{A1FB48E9-67D2-0A41-A95B-AB49976CAB76}"/>
          </ac:spMkLst>
        </pc:spChg>
        <pc:picChg chg="add mod ord">
          <ac:chgData name="Justin Luke Riley" userId="23cfa7f9b1f04783" providerId="LiveId" clId="{808AE92C-064A-0741-ADC5-FBC06D1EF404}" dt="2018-06-08T19:59:40.917" v="134" actId="1076"/>
          <ac:picMkLst>
            <pc:docMk/>
            <pc:sldMk cId="3727749042" sldId="608"/>
            <ac:picMk id="5" creationId="{3939A6C2-DA63-954B-9C60-A8C359B6B39C}"/>
          </ac:picMkLst>
        </pc:picChg>
        <pc:picChg chg="del">
          <ac:chgData name="Justin Luke Riley" userId="23cfa7f9b1f04783" providerId="LiveId" clId="{808AE92C-064A-0741-ADC5-FBC06D1EF404}" dt="2018-06-08T19:58:55.036" v="128" actId="478"/>
          <ac:picMkLst>
            <pc:docMk/>
            <pc:sldMk cId="3727749042" sldId="608"/>
            <ac:picMk id="6" creationId="{80BE0EA0-6B6D-1448-BAFF-3D9C65762EED}"/>
          </ac:picMkLst>
        </pc:picChg>
      </pc:sldChg>
      <pc:sldChg chg="add del">
        <pc:chgData name="Justin Luke Riley" userId="23cfa7f9b1f04783" providerId="LiveId" clId="{808AE92C-064A-0741-ADC5-FBC06D1EF404}" dt="2018-06-08T20:00:29.593" v="216" actId="2696"/>
        <pc:sldMkLst>
          <pc:docMk/>
          <pc:sldMk cId="3941927043" sldId="609"/>
        </pc:sldMkLst>
      </pc:sldChg>
      <pc:sldChg chg="addSp delSp modSp add ord">
        <pc:chgData name="Justin Luke Riley" userId="23cfa7f9b1f04783" providerId="LiveId" clId="{808AE92C-064A-0741-ADC5-FBC06D1EF404}" dt="2018-06-08T20:03:12.351" v="258" actId="1076"/>
        <pc:sldMkLst>
          <pc:docMk/>
          <pc:sldMk cId="138148914" sldId="610"/>
        </pc:sldMkLst>
        <pc:spChg chg="mod">
          <ac:chgData name="Justin Luke Riley" userId="23cfa7f9b1f04783" providerId="LiveId" clId="{808AE92C-064A-0741-ADC5-FBC06D1EF404}" dt="2018-06-08T20:00:56.777" v="249" actId="20577"/>
          <ac:spMkLst>
            <pc:docMk/>
            <pc:sldMk cId="138148914" sldId="610"/>
            <ac:spMk id="2" creationId="{00000000-0000-0000-0000-000000000000}"/>
          </ac:spMkLst>
        </pc:spChg>
        <pc:spChg chg="add del mod">
          <ac:chgData name="Justin Luke Riley" userId="23cfa7f9b1f04783" providerId="LiveId" clId="{808AE92C-064A-0741-ADC5-FBC06D1EF404}" dt="2018-06-08T20:02:47.532" v="250" actId="931"/>
          <ac:spMkLst>
            <pc:docMk/>
            <pc:sldMk cId="138148914" sldId="610"/>
            <ac:spMk id="4" creationId="{29B62F7B-A3F7-BB42-A011-0BE890F1D67A}"/>
          </ac:spMkLst>
        </pc:spChg>
        <pc:picChg chg="del">
          <ac:chgData name="Justin Luke Riley" userId="23cfa7f9b1f04783" providerId="LiveId" clId="{808AE92C-064A-0741-ADC5-FBC06D1EF404}" dt="2018-06-08T20:00:40.565" v="218" actId="478"/>
          <ac:picMkLst>
            <pc:docMk/>
            <pc:sldMk cId="138148914" sldId="610"/>
            <ac:picMk id="5" creationId="{3939A6C2-DA63-954B-9C60-A8C359B6B39C}"/>
          </ac:picMkLst>
        </pc:picChg>
        <pc:picChg chg="add mod ord">
          <ac:chgData name="Justin Luke Riley" userId="23cfa7f9b1f04783" providerId="LiveId" clId="{808AE92C-064A-0741-ADC5-FBC06D1EF404}" dt="2018-06-08T20:03:12.351" v="258" actId="1076"/>
          <ac:picMkLst>
            <pc:docMk/>
            <pc:sldMk cId="138148914" sldId="610"/>
            <ac:picMk id="6" creationId="{1D6A6FCA-FF08-0C4A-913A-5F64D8C2E17C}"/>
          </ac:picMkLst>
        </pc:pic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2-14T10:02:17.129" idx="1">
    <p:pos x="10" y="10"/>
    <p:text>Do you use your middle name in public? I haven't seen it used for SAM so you should probably delete to be consistent. </p:text>
    <p:extLst>
      <p:ext uri="{C676402C-5697-4E1C-873F-D02D1690AC5C}">
        <p15:threadingInfo xmlns:p15="http://schemas.microsoft.com/office/powerpoint/2012/main" timeZoneBias="30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8-02-14T10:08:59.775" idx="8">
    <p:pos x="10" y="10"/>
    <p:text>You need a slide on why the picture on opiates and marijuana are complicated and why the RAND study can't be over-interpreted (can combine with the slide on why the JAMA study is bad too)</p:text>
    <p:extLst>
      <p:ext uri="{C676402C-5697-4E1C-873F-D02D1690AC5C}">
        <p15:threadingInfo xmlns:p15="http://schemas.microsoft.com/office/powerpoint/2012/main" timeZoneBias="300"/>
      </p:ext>
    </p:extLst>
  </p:cm>
</p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B9D31C-5FE8-464F-8875-39E110EA7C4D}" type="datetimeFigureOut">
              <a:rPr lang="en-US" smtClean="0"/>
              <a:t>10/19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CD01B0-243A-42A9-8D15-636E19067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0204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78061-42BC-419D-BB74-5EDF12A0C022}" type="datetimeFigureOut">
              <a:rPr lang="en-US" smtClean="0"/>
              <a:t>10/1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1023C-EDFE-4596-ACA4-B29775F133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655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1023C-EDFE-4596-ACA4-B29775F1337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22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499765" y="6539345"/>
            <a:ext cx="529936" cy="286250"/>
          </a:xfrm>
          <a:prstGeom prst="rect">
            <a:avLst/>
          </a:prstGeom>
        </p:spPr>
        <p:txBody>
          <a:bodyPr/>
          <a:lstStyle/>
          <a:p>
            <a:fld id="{1358D599-AC35-46AC-9A8C-ED4DECE12538}" type="slidenum">
              <a:rPr lang="en-US" sz="1051" b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‹#›</a:t>
            </a:fld>
            <a:endParaRPr lang="en-US" sz="1051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flipH="1">
            <a:off x="-8" y="0"/>
            <a:ext cx="1490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985050" y="4356295"/>
            <a:ext cx="7173900" cy="621106"/>
          </a:xfrm>
          <a:prstGeom prst="rect">
            <a:avLst/>
          </a:prstGeom>
        </p:spPr>
        <p:txBody>
          <a:bodyPr lIns="0" tIns="45720" rIns="0" bIns="45720" anchor="b" anchorCtr="0">
            <a:noAutofit/>
          </a:bodyPr>
          <a:lstStyle>
            <a:lvl1pPr algn="ctr">
              <a:defRPr sz="3200" b="1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985525" y="4977401"/>
            <a:ext cx="7172954" cy="56786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ctr">
              <a:buNone/>
              <a:defRPr sz="2800" baseline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90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1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3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5530" y="1819910"/>
            <a:ext cx="4174820" cy="12732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152" y="6614717"/>
            <a:ext cx="404921" cy="16466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26589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175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97812" y="146747"/>
            <a:ext cx="8711105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2" name="Text Placeholder 10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733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-hand image with deta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525504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606338" y="1848663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b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606338" y="2915274"/>
            <a:ext cx="3423362" cy="2345215"/>
          </a:xfrm>
        </p:spPr>
        <p:txBody>
          <a:bodyPr anchor="t">
            <a:normAutofit/>
          </a:bodyPr>
          <a:lstStyle>
            <a:lvl1pPr marL="231769" indent="-231769"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6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606337" y="2775876"/>
            <a:ext cx="353766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6337" y="6614717"/>
            <a:ext cx="404921" cy="16466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5456079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535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-hand image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525504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5606338" y="2989572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6337" y="6614717"/>
            <a:ext cx="404921" cy="16466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5456079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374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-hand image with detai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891720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372645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09181" y="2915274"/>
            <a:ext cx="3423362" cy="2345215"/>
          </a:xfrm>
        </p:spPr>
        <p:txBody>
          <a:bodyPr anchor="t">
            <a:normAutofit/>
          </a:bodyPr>
          <a:lstStyle>
            <a:lvl1pPr marL="231769" indent="-231769">
              <a:buFont typeface="Arial" panose="020B0604020202020204" pitchFamily="34" charset="0"/>
              <a:buChar char="•"/>
              <a:defRPr sz="20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6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600" y="2775876"/>
            <a:ext cx="3537664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09181" y="1848663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b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182" y="6614717"/>
            <a:ext cx="404921" cy="16466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308492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95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ight-hand image (sim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891720" y="0"/>
            <a:ext cx="5255046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Rectangle 5"/>
          <p:cNvSpPr/>
          <p:nvPr userDrawn="1"/>
        </p:nvSpPr>
        <p:spPr>
          <a:xfrm flipH="1">
            <a:off x="3726457" y="0"/>
            <a:ext cx="149088" cy="6858000"/>
          </a:xfrm>
          <a:prstGeom prst="rect">
            <a:avLst/>
          </a:prstGeom>
          <a:ln>
            <a:solidFill>
              <a:srgbClr val="B31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09181" y="2989572"/>
            <a:ext cx="3423362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182" y="6614717"/>
            <a:ext cx="404921" cy="16466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308492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561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025" y="6614717"/>
            <a:ext cx="404921" cy="164663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93767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817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51241" y="2873685"/>
            <a:ext cx="3641519" cy="111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88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6426E78-1076-7A4F-BED0-AC84770A242C}" type="datetimeFigureOut">
              <a:rPr lang="en-US" smtClean="0"/>
              <a:t>10/19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89807B2-2B33-DA42-844A-0947759392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970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1168" y="1172337"/>
            <a:ext cx="8977748" cy="0"/>
          </a:xfrm>
          <a:prstGeom prst="line">
            <a:avLst/>
          </a:prstGeom>
          <a:ln w="222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 flipH="1">
            <a:off x="-8" y="0"/>
            <a:ext cx="149088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483926"/>
            <a:ext cx="9144000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362" y="6614717"/>
            <a:ext cx="404921" cy="164663"/>
          </a:xfrm>
          <a:prstGeom prst="rect">
            <a:avLst/>
          </a:prstGeom>
        </p:spPr>
      </p:pic>
      <p:sp>
        <p:nvSpPr>
          <p:cNvPr id="14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97812" y="146747"/>
            <a:ext cx="8711105" cy="878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6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486131" y="6548050"/>
            <a:ext cx="512285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36E449CF-6AD1-488A-B8A3-F81B5971330C}" type="slidenum">
              <a:rPr lang="en-US" sz="1051" smtClean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algn="ctr"/>
              <a:t>‹#›</a:t>
            </a:fld>
            <a:endParaRPr lang="en-US" sz="105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212104" y="6575892"/>
            <a:ext cx="148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  <p:sldLayoutId id="2147483655" r:id="rId3"/>
    <p:sldLayoutId id="2147483656" r:id="rId4"/>
    <p:sldLayoutId id="2147483657" r:id="rId5"/>
    <p:sldLayoutId id="2147483658" r:id="rId6"/>
    <p:sldLayoutId id="2147483654" r:id="rId7"/>
    <p:sldLayoutId id="2147483650" r:id="rId8"/>
    <p:sldLayoutId id="2147483660" r:id="rId9"/>
  </p:sldLayoutIdLst>
  <p:txStyles>
    <p:titleStyle>
      <a:lvl1pPr algn="l" defTabSz="914377" rtl="0" eaLnBrk="1" latinLnBrk="0" hangingPunct="1">
        <a:lnSpc>
          <a:spcPct val="110000"/>
        </a:lnSpc>
        <a:spcBef>
          <a:spcPct val="0"/>
        </a:spcBef>
        <a:buNone/>
        <a:defRPr sz="3000" kern="1200">
          <a:solidFill>
            <a:schemeClr val="tx1"/>
          </a:solidFill>
          <a:latin typeface="Roboto Medium" panose="02000000000000000000" pitchFamily="2" charset="0"/>
          <a:ea typeface="Roboto Medium" panose="02000000000000000000" pitchFamily="2" charset="0"/>
          <a:cs typeface="Roboto Medium" panose="02000000000000000000" pitchFamily="2" charset="0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9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tiff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tiff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tif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marijuanaaccountability.co" TargetMode="External"/><Relationship Id="rId2" Type="http://schemas.openxmlformats.org/officeDocument/2006/relationships/hyperlink" Target="http://www.learnaboutsam.org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5050" y="4160040"/>
            <a:ext cx="7173900" cy="621106"/>
          </a:xfrm>
        </p:spPr>
        <p:txBody>
          <a:bodyPr>
            <a:noAutofit/>
          </a:bodyPr>
          <a:lstStyle/>
          <a:p>
            <a:r>
              <a:rPr lang="en-US" dirty="0"/>
              <a:t>Lessons Learned from Marijuana Legaliz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sz="2600" i="1" dirty="0">
                <a:solidFill>
                  <a:schemeClr val="tx1"/>
                </a:solidFill>
              </a:rPr>
              <a:t>Justin Luke Riley</a:t>
            </a:r>
          </a:p>
          <a:p>
            <a:r>
              <a:rPr lang="en-US" sz="2600" i="1" dirty="0">
                <a:solidFill>
                  <a:schemeClr val="tx1"/>
                </a:solidFill>
              </a:rPr>
              <a:t>The Marijuana Accountability (SAM affiliate)</a:t>
            </a: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49BB68E1-7ABA-4D46-9976-788925962A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142" y="0"/>
            <a:ext cx="2267857" cy="120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75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SAM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782" y="1481938"/>
            <a:ext cx="3349738" cy="1021639"/>
          </a:xfrm>
          <a:prstGeom prst="rect">
            <a:avLst/>
          </a:prstGeom>
        </p:spPr>
      </p:pic>
      <p:sp>
        <p:nvSpPr>
          <p:cNvPr id="5" name="Text Placeholder 3"/>
          <p:cNvSpPr txBox="1">
            <a:spLocks/>
          </p:cNvSpPr>
          <p:nvPr/>
        </p:nvSpPr>
        <p:spPr>
          <a:xfrm>
            <a:off x="3864429" y="1331810"/>
            <a:ext cx="5144488" cy="21580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b="1" dirty="0"/>
              <a:t>A 501(c)(3) non-profit, educational organization</a:t>
            </a:r>
            <a:r>
              <a:rPr lang="en-US" sz="1800" dirty="0"/>
              <a:t> funded by volunteers &amp; private organ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/>
              <a:t>Our mission:</a:t>
            </a:r>
          </a:p>
          <a:p>
            <a:pPr marL="857233" lvl="1" indent="-171450"/>
            <a:r>
              <a:rPr lang="en-US" sz="1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ducate citizens </a:t>
            </a:r>
            <a:r>
              <a:rPr lang="en-US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n the science of marijuana</a:t>
            </a:r>
          </a:p>
          <a:p>
            <a:pPr marL="857233" lvl="1" indent="-171450"/>
            <a:r>
              <a:rPr lang="en-US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mote </a:t>
            </a:r>
            <a:r>
              <a:rPr lang="en-US" sz="1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ealth-first, smart policies and attitudes </a:t>
            </a:r>
            <a:r>
              <a:rPr lang="en-US" sz="1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at decrease marijuana use and its consequences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61558" y="1578430"/>
            <a:ext cx="0" cy="46155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5222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s SAM collaborates wit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297812" y="1534886"/>
            <a:ext cx="8580477" cy="5244493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b="1" dirty="0"/>
              <a:t>American Society of Addiction Medi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b="1" dirty="0"/>
              <a:t>American Academy of Pediatr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b="1" dirty="0"/>
              <a:t>American Academy of Child and Adolescent Psychiat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b="1" dirty="0"/>
              <a:t>Other leading public health author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b="1" dirty="0"/>
              <a:t>Over 30 state affiliates, </a:t>
            </a:r>
            <a:r>
              <a:rPr lang="en-US" sz="2400" dirty="0"/>
              <a:t>including: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eatment centers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overy groups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vention organizations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aw enforcement 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ading medical authorities</a:t>
            </a:r>
          </a:p>
          <a:p>
            <a:pPr marL="857233" lvl="1" indent="-171450"/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olunteer citizens</a:t>
            </a:r>
          </a:p>
        </p:txBody>
      </p:sp>
    </p:spTree>
    <p:extLst>
      <p:ext uri="{BB962C8B-B14F-4D97-AF65-F5344CB8AC3E}">
        <p14:creationId xmlns:p14="http://schemas.microsoft.com/office/powerpoint/2010/main" val="7028102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895E-3E07-564B-89EA-4CF4C6263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Organizations, One Miss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2AE9498-F65C-0646-B3B8-605F9E21C7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153" y="1305176"/>
            <a:ext cx="6586421" cy="1401929"/>
          </a:xfr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C2C1C64-1C61-C74E-968A-1EFA42A9104D}"/>
              </a:ext>
            </a:extLst>
          </p:cNvPr>
          <p:cNvCxnSpPr>
            <a:cxnSpLocks/>
          </p:cNvCxnSpPr>
          <p:nvPr/>
        </p:nvCxnSpPr>
        <p:spPr>
          <a:xfrm>
            <a:off x="4448819" y="1215189"/>
            <a:ext cx="0" cy="51856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5102A27-93A8-4640-AEC6-EA99756284D1}"/>
              </a:ext>
            </a:extLst>
          </p:cNvPr>
          <p:cNvSpPr txBox="1"/>
          <p:nvPr/>
        </p:nvSpPr>
        <p:spPr>
          <a:xfrm>
            <a:off x="505326" y="2707105"/>
            <a:ext cx="3621506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 Action is dedicated to promoting healthy marijuana policies that do not legalize drugs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tive at all levels of national, state, and local policy-m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sts in and starts organizations to promote smart marijuana policies</a:t>
            </a:r>
          </a:p>
          <a:p>
            <a:endParaRPr lang="en-US" sz="2000" dirty="0" err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5DB8E5-7181-EE44-8BC1-B7103A1D313B}"/>
              </a:ext>
            </a:extLst>
          </p:cNvPr>
          <p:cNvSpPr txBox="1"/>
          <p:nvPr/>
        </p:nvSpPr>
        <p:spPr>
          <a:xfrm>
            <a:off x="4981659" y="2707104"/>
            <a:ext cx="362150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’s mission is to educate citizens on the science of marijuana and to promote health-first, smart policies and attitudes that decrease marijuana use and its consequen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rings light to and conducts research into marijuana’s negative effects</a:t>
            </a:r>
          </a:p>
        </p:txBody>
      </p:sp>
    </p:spTree>
    <p:extLst>
      <p:ext uri="{BB962C8B-B14F-4D97-AF65-F5344CB8AC3E}">
        <p14:creationId xmlns:p14="http://schemas.microsoft.com/office/powerpoint/2010/main" val="15206779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</a:t>
            </a:r>
            <a:r>
              <a:rPr lang="en-US"/>
              <a:t>is the Marijuana Accountability Coaltion?</a:t>
            </a:r>
            <a:endParaRPr lang="en-US" dirty="0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FD4CFB70-9361-7B47-84F1-5B7D997491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884" y="2593024"/>
            <a:ext cx="3368675" cy="1793622"/>
          </a:xfrm>
          <a:prstGeom prst="rect">
            <a:avLst/>
          </a:prstGeom>
        </p:spPr>
      </p:pic>
      <p:sp>
        <p:nvSpPr>
          <p:cNvPr id="5" name="Text Placeholder 3"/>
          <p:cNvSpPr txBox="1">
            <a:spLocks/>
          </p:cNvSpPr>
          <p:nvPr/>
        </p:nvSpPr>
        <p:spPr>
          <a:xfrm>
            <a:off x="3864429" y="1331810"/>
            <a:ext cx="5144488" cy="21580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b="1" dirty="0">
                <a:latin typeface="+mn-lt"/>
              </a:rPr>
              <a:t>A 501(</a:t>
            </a:r>
            <a:r>
              <a:rPr lang="en-US" sz="2800" b="1">
                <a:latin typeface="+mn-lt"/>
              </a:rPr>
              <a:t>c)(4) </a:t>
            </a:r>
            <a:r>
              <a:rPr lang="en-US" sz="2800" b="1" dirty="0">
                <a:latin typeface="+mn-lt"/>
              </a:rPr>
              <a:t>non-profit, educational organization</a:t>
            </a:r>
            <a:r>
              <a:rPr lang="en-US" sz="2800" dirty="0">
                <a:latin typeface="+mn-lt"/>
              </a:rPr>
              <a:t> funded by volunteers &amp; private organiz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800" dirty="0">
                <a:latin typeface="+mn-lt"/>
              </a:rPr>
              <a:t>Our </a:t>
            </a:r>
            <a:r>
              <a:rPr lang="en-US" sz="2800">
                <a:latin typeface="+mn-lt"/>
              </a:rPr>
              <a:t>mission:</a:t>
            </a:r>
          </a:p>
          <a:p>
            <a:pPr marL="857233" lvl="1" indent="-171450"/>
            <a:r>
              <a:rPr lang="en-US" sz="2800" b="1" i="0">
                <a:effectLst/>
              </a:rPr>
              <a:t>We fearlessly investigate, expose, challenge, and hold the marijuana industry accountable.</a:t>
            </a:r>
          </a:p>
          <a:p>
            <a:pPr marL="857233" lvl="1" indent="-171450"/>
            <a:endParaRPr lang="en-US" sz="2800" dirty="0"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761558" y="1578430"/>
            <a:ext cx="0" cy="46155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389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he false dichotomy: “Legalization </a:t>
            </a:r>
            <a:r>
              <a:rPr lang="en-US" sz="3200" u="sng" dirty="0"/>
              <a:t>OR</a:t>
            </a:r>
            <a:r>
              <a:rPr lang="en-US" sz="3200" dirty="0"/>
              <a:t> incarceration?”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45771" y="10299822"/>
            <a:ext cx="4198040" cy="141155"/>
          </a:xfrm>
        </p:spPr>
        <p:txBody>
          <a:bodyPr>
            <a:normAutofit fontScale="47500" lnSpcReduction="20000"/>
          </a:bodyPr>
          <a:lstStyle/>
          <a:p>
            <a:r>
              <a:rPr lang="en-US" dirty="0"/>
              <a:t>Icons:  Milky – Digital Innovation; </a:t>
            </a:r>
          </a:p>
        </p:txBody>
      </p:sp>
      <p:pic>
        <p:nvPicPr>
          <p:cNvPr id="7" name="Picture 2" descr="https://d30y9cdsu7xlg0.cloudfront.net/png/143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3955" y="2890200"/>
            <a:ext cx="1573427" cy="1573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d30y9cdsu7xlg0.cloudfront.net/png/15302-200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7500" y="2857623"/>
            <a:ext cx="1572900" cy="157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089071" y="3261414"/>
            <a:ext cx="11767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s</a:t>
            </a:r>
            <a:endParaRPr lang="en-US" sz="4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Content Placeholder 27"/>
          <p:cNvSpPr txBox="1">
            <a:spLocks/>
          </p:cNvSpPr>
          <p:nvPr/>
        </p:nvSpPr>
        <p:spPr>
          <a:xfrm>
            <a:off x="950761" y="6539352"/>
            <a:ext cx="7138556" cy="24002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cons:  </a:t>
            </a:r>
            <a:r>
              <a:rPr lang="en-US" dirty="0" err="1"/>
              <a:t>Ddigital</a:t>
            </a:r>
            <a:r>
              <a:rPr lang="en-US" dirty="0"/>
              <a:t> Innovation, FR; </a:t>
            </a:r>
            <a:r>
              <a:rPr lang="en-US" dirty="0" err="1"/>
              <a:t>Iconathon</a:t>
            </a:r>
            <a:r>
              <a:rPr lang="en-US" dirty="0"/>
              <a:t>; Edward Boatman (The Noun Project)</a:t>
            </a:r>
          </a:p>
        </p:txBody>
      </p:sp>
    </p:spTree>
    <p:extLst>
      <p:ext uri="{BB962C8B-B14F-4D97-AF65-F5344CB8AC3E}">
        <p14:creationId xmlns:p14="http://schemas.microsoft.com/office/powerpoint/2010/main" val="9723678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separate issues that often get conflated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8247" y="1689100"/>
            <a:ext cx="2647701" cy="43688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3372104" y="1689100"/>
            <a:ext cx="2647701" cy="43688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6275962" y="1689100"/>
            <a:ext cx="2647701" cy="43688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476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08498" y="1999729"/>
            <a:ext cx="24171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alizing </a:t>
            </a:r>
            <a:r>
              <a:rPr lang="en-US" sz="200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rug users/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”decriminalization”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29452" y="1854201"/>
            <a:ext cx="180944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dicinal use of compounds derived from marijuana/other drug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775899" y="1854200"/>
            <a:ext cx="180944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galization of marijuana or other drugs for “non-medical” use</a:t>
            </a:r>
          </a:p>
        </p:txBody>
      </p:sp>
      <p:sp>
        <p:nvSpPr>
          <p:cNvPr id="10" name="Oval 9"/>
          <p:cNvSpPr/>
          <p:nvPr/>
        </p:nvSpPr>
        <p:spPr>
          <a:xfrm>
            <a:off x="468247" y="1437396"/>
            <a:ext cx="372156" cy="496208"/>
          </a:xfrm>
          <a:prstGeom prst="ellipse">
            <a:avLst/>
          </a:prstGeom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11" name="Oval 10"/>
          <p:cNvSpPr/>
          <p:nvPr/>
        </p:nvSpPr>
        <p:spPr>
          <a:xfrm>
            <a:off x="3380108" y="1437396"/>
            <a:ext cx="372156" cy="496208"/>
          </a:xfrm>
          <a:prstGeom prst="ellipse">
            <a:avLst/>
          </a:prstGeom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12" name="Oval 11"/>
          <p:cNvSpPr/>
          <p:nvPr/>
        </p:nvSpPr>
        <p:spPr>
          <a:xfrm>
            <a:off x="6228584" y="1437396"/>
            <a:ext cx="372156" cy="496208"/>
          </a:xfrm>
          <a:prstGeom prst="ellipse">
            <a:avLst/>
          </a:prstGeom>
          <a:ln w="19050">
            <a:solidFill>
              <a:schemeClr val="accent4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pic>
        <p:nvPicPr>
          <p:cNvPr id="13" name="Picture 10" descr="https://d30y9cdsu7xlg0.cloudfront.net/png/15302-20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478" y="3659091"/>
            <a:ext cx="1179675" cy="15729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ttps://d30y9cdsu7xlg0.cloudfront.net/png/52053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65787" y="3429343"/>
            <a:ext cx="1575156" cy="21002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s://d30y9cdsu7xlg0.cloudfront.net/png/143-20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0586" y="3658565"/>
            <a:ext cx="1180070" cy="15734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40932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81" y="-188053"/>
            <a:ext cx="8995719" cy="6779379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485790">
            <a:off x="2063919" y="25304"/>
            <a:ext cx="5164438" cy="5437208"/>
          </a:xfrm>
          <a:prstGeom prst="rect">
            <a:avLst/>
          </a:prstGeom>
        </p:spPr>
      </p:pic>
      <p:sp>
        <p:nvSpPr>
          <p:cNvPr id="10" name="Text Placeholder 3"/>
          <p:cNvSpPr txBox="1">
            <a:spLocks/>
          </p:cNvSpPr>
          <p:nvPr/>
        </p:nvSpPr>
        <p:spPr>
          <a:xfrm>
            <a:off x="4145225" y="776845"/>
            <a:ext cx="1051423" cy="697249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srgbClr val="C00000"/>
              </a:solidFill>
              <a:latin typeface="Myanmar MN" charset="0"/>
              <a:ea typeface="Myanmar MN" charset="0"/>
              <a:cs typeface="Myanmar MN" charset="0"/>
            </a:endParaRP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784994" y="2183585"/>
            <a:ext cx="2838707" cy="20781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Why talk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POT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5721178" y="2201194"/>
            <a:ext cx="3212720" cy="2078125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/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5520301" y="2102301"/>
            <a:ext cx="3322636" cy="2240692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r>
              <a:rPr lang="en-US" sz="4400" b="1" dirty="0"/>
              <a:t>During an opiate epidemic? </a:t>
            </a:r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44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3085035" y="6210274"/>
            <a:ext cx="3164191" cy="56122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3200" b="1" dirty="0"/>
          </a:p>
          <a:p>
            <a:pPr marL="171450" lvl="0" indent="-171450" algn="ctr" defTabSz="914400">
              <a:lnSpc>
                <a:spcPct val="100000"/>
              </a:lnSpc>
              <a:spcBef>
                <a:spcPts val="0"/>
              </a:spcBef>
            </a:pPr>
            <a:endParaRPr lang="en-US" sz="2000" b="1" dirty="0">
              <a:latin typeface="Hiragino Kaku Gothic Std W8" charset="-128"/>
              <a:ea typeface="Hiragino Kaku Gothic Std W8" charset="-128"/>
              <a:cs typeface="Hiragino Kaku Gothic Std W8" charset="-128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0214" y="3521679"/>
            <a:ext cx="801816" cy="801816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6337" y="2719863"/>
            <a:ext cx="801816" cy="8018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414" y="1875205"/>
            <a:ext cx="801816" cy="80181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4260" y="1001518"/>
            <a:ext cx="801816" cy="801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23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Title 1"/>
          <p:cNvSpPr>
            <a:spLocks noGrp="1"/>
          </p:cNvSpPr>
          <p:nvPr>
            <p:ph type="title"/>
          </p:nvPr>
        </p:nvSpPr>
        <p:spPr>
          <a:xfrm>
            <a:off x="298450" y="146050"/>
            <a:ext cx="8710613" cy="879475"/>
          </a:xfrm>
          <a:ln/>
        </p:spPr>
        <p:txBody>
          <a:bodyPr/>
          <a:lstStyle/>
          <a:p>
            <a:r>
              <a:rPr lang="en-US" altLang="en-US" sz="3400" b="1">
                <a:ea typeface="ＭＳ Ｐゴシック" charset="-128"/>
              </a:rPr>
              <a:t>Marijuana use goes hand-in-hand with increased prescription opioid abuse</a:t>
            </a:r>
          </a:p>
        </p:txBody>
      </p:sp>
      <p:sp>
        <p:nvSpPr>
          <p:cNvPr id="89090" name="Content Placeholder 2"/>
          <p:cNvSpPr>
            <a:spLocks noGrp="1"/>
          </p:cNvSpPr>
          <p:nvPr>
            <p:ph idx="1"/>
          </p:nvPr>
        </p:nvSpPr>
        <p:spPr>
          <a:xfrm>
            <a:off x="950913" y="6538913"/>
            <a:ext cx="7451725" cy="238125"/>
          </a:xfrm>
        </p:spPr>
        <p:txBody>
          <a:bodyPr/>
          <a:lstStyle/>
          <a:p>
            <a:r>
              <a:rPr lang="en-US" altLang="en-US" sz="700">
                <a:ea typeface="ＭＳ Ｐゴシック" charset="-128"/>
              </a:rPr>
              <a:t>Source:  Olfson M., et al. Cannabis Use and Risk of Prescription Opioid Use Disorder in the United States. Am J Psychiatry 2017. https://doi.org/10.1176/appi.ajp.2017.17040413.</a:t>
            </a: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Nrr+O10cQCGo+PFPzu8gTc3Vn7x6LuziNpQfEmA1t95EW4jgobtreutqi7ccdPi341Qo5lwUPOamr3+BmnhGo7lDfNB/wzW734ruBs2oH7N+8sgG/o9rzGCYxuRWBkFlFd8yohixOoLjHZFkvRJWxgSsux1MaFUPZP9/u/clYr+xCEnFNjnbTAaWzUa+WueR5OZUmrhiOHS9UKMHqyBqgtU7AF2uxilRo67VAsLB87awAMRQp18EgtHVeVipe7/vbKYd/DyBI9MjR/o3gI3VWU1TK1P+G99dx2cNPonMmBgfQYv/4RwycNVoTm6XV3DM+/lnUK3omSCeqMnpuoC4t8XrA4wis5uj4lIZrW9cLHxeLDYMxzcbriU9M5W8PWYDgyX/G2h6VR2pEUBtVRScN7RVQUrZApwBxzLFiT5PSBFvHoUyWihHoKOlycncyKHSGjyWA9pw+IlFOp97GfJ0snWTUDJP0J4G5xVk9yGV/NRqWYy6ykAbGah+PthttK2D48+fm/0c85ADVJsTZAAuaHwY/Ml5X64qAg4KVoRoWFClmyWr9yEprzwL1e+xlY41WgOX/1C8ys2eBH4mw4Fmo9yONcqeY+n+MfT339ZVLWrxtAkmvAuGMCuuezs6UWxxa6WGsYj9j2i/EwMP71NUBtopDsTeaQkItbGreS89Dvrtu4Hm++uTx7/UOD1NRVpBIz4F8O1E4+3ODbAcafKsHMTN9MY7JDW8yBbTRCilwC2pMV0kD3ecZtg31oGb6y0qB/Z1XS4gythdn2LOvB6y1RX58pE/pQmqVV18c5diJbjoZIhX6kGDLLK+nqTA6Cb8Aa/EwAQrwgDG/l+xNV6gqOf3839i8Cer4EAVZ17TkpuyzVPo5K93Tf2R2EwZaTZkDIUOVa71jszWA51AbSjrr3MBECxdluh9w9vHf84B7wzEVPkL86M+kKchEhLtABaZ9TIQexSS1sgko+T8h98/coxRboTekjgj0AvVGNUBQZObMxxc77nJK1lI7Fh/2ZYzEd0gaGJqSc6hwOaL6mfNNl1mFTOADzb7aEp9d5Ydiibc8QmFBa2IMM685jyWscEVr0JduuOy4+m6OT6v/YphXTTHz2CWVz35LwNElDGr2bbnd20SKDSnoHnA0wsPHtYnjcKvPpg7b8gWIQXBejK+n1+Wq3D0kfFFqqQ+hBjP+eQYzA5M3TTIU1S+johhXNyJFD+LTFUEZ1MXIELE58DnsDTFEQzwqtHw8TJtg+MrB0/q50XYLG9KYKrR2uG459MsDj+M1O1wUjXabx2B0IRnWVlMfGU2umgn2MMGnFws/kbAK4GCN+jeuf63MHgg16vO2bvKAdFG33KmGUhh1dmhGfRo+wycRv1wwQlGUDRWXbEWeo4I+t/yjoMoF3WM/W2kLSOdW6ibIzWiqNkZXzQkZSQ3C9zH5cdE5R1iiNsAIDnnNomxyFrFBwAmnWSczfCrHwuUepoH8ygPYfz4YWWAcjQmfE69JcpzABLp3ZrOTneOnqaVyzp+S7YrfQXdr4tNDbIT5zk/KRfcgZPmLy4Ng46wjaOVfpf1KhekQDL+Sd9T0UBMTuECW8eUI1kVuz6UfWSzzjKOn2dnQFRnc0y2zsb+pPJaXRUTlEYJV7ZqWDJEafZohrcmCLyIKmZso52fcmFQAKRK18GCq+o4Z3YEcLq9PsrtgWwnX1k0iAmnHuxdNR8QhPdOKCCE1ZuMwr/WCMmYVOnSyy6SLgjHvgJsm+ZDB+PUip24w1MXtgd6NRViGsf/U2+SweWmR1IIv6oV5/lbAgvaewLT8cAbcjoKgpx91NKKUut5kMseZaj+wLrlEuXu7kKjOI4JuToh9ArJJ5ga1OAlR1EAj5EqeNnpAsZPL2eB7f8t1Z0PG06BXhab3seCHzJEiGwRtayB85wM2MKdy8oZNwbhCnxXsgR6Td9NPp8rmmQwXaFbBacSDQlNWeb5OdH95cUND4zRbDerJ1oO1u11HWDOjdl4DP61xb6LgwAEk0n8HPPMBR2x2ISphdXe3cfRfVK1nF+aP/lLHF2QkPYhNHxIsVouvlQ1V+7A1EBKVGKsbvR55MITlfINPNk+Y/rp75TZuVxofBjRlnI650nAHpezHzVfdEmjiC2SMU/3/I1UvuBqIGd9LWnS6GUaOgEg+X68SUPX5/5RAyl9inQi9eK0Utkwwz+/t2aC1wdczfFRYcWywIeaZuhabodj3Zdn3kh4Oaxcria2Ytc5+h9bajx5w8I7rfXq7BK7FF8N97BUdlsbOd0TK6gqYwZbz02cc0RsjgmD5gs1MYxcdFqBxz+louPaaff+0dUr9+wjP19zpyxt7wDj6+JG9IdSCv1khv0i4ayoyNBtIB5Btq6SS9ZtZptJes/1GBJcpYmyRSsABLw8tbFlf3YYMRAPIM0zse+ZHBNV4YCNllqRuFiq4oNWTGMxOSUI+QFAN4W3byT5Oa84jj/OC2Zqv7kXPKeB9wz8Bbo7pBMJO22VaqDf4d9zzLjyUNexqvSbYc+1OTJRyxCgrY1UBbJfsQQjjCFP0wdgCk+X7STo8Lx2HBAnojn509W7JnI+t7Gg3UOIrHy4NqGTc1vNDxua0tekr7BCplcP+Y3KlUIaQHdSBzgLS8Ixzo69cRItt92E1xvC9oK9bgwjYJCbyaZ35exGN/kU66e4NcqkI+XUWc4Pq8zoD5zldlZTfSh3umhLjAWwBsMDXJ22aUA+4QPVOiqYrUXDhbMeyx1ZiNvh17xisSQG03p+PFGRIhSccTvdxLRnwjcRe1hi8V9dDZSQxxOdhYuGnpEjbAWftpVXDPRiCU8/3pg51I5vS4ecJZNGhcIXKJUZSmrpJ/5KgnqUdmZJ5HjwFV2dk5DmjQR8bzBs0dzu1rilzGSKauINtj10hDMr0rwIwke23zL4ix3yX5O5il5EaijUNjRqbRE3GSg9bLNBs2sm0UMu018nBPiIEn1q2lghfcwiZut6e2c+jo8hbuNdMbz7nC5V8sLsXxDmLWLOm7MBLevrbyxxBzBFQJxUxpKI5kDpACMT8nj3HTFH3uqoOcYj0WTd0i8Yo926BFpbSaxZvsf0Lk8lyfyWNHRy87dZZy3LEiDAfqC804xHMmSsYouYkZl00DO4Horu1THUjMFmNp5NzRktzBjKPD3YmcEk43e3knMUgxMPalnd6EHeyRofJd67REVxZJ1YJdStgrDTy2JYvGmomZGOdFMJK+3LQ47zcGo0tybCB3CKQZACZU72ViauajGmJum3+4Q4BygQWgmKMjr96MUe71AGRCl0dNrrMJkI2tLzznPXneHs0gmJmDXDOxBqvwtpo2hLYmovZxr4jD4LT39aZcmdL3aPpe3/U5Ye3j4jdsLrnZldlcelHTUz3swBS2APFLmNoIE0onDCp0jl+//D1wg0/T0M0nHHHj/s8psz93++m3FMl60GfcA3i/pfT/pH/01ypnYnS6qWsdwwZ87HelNfs4HgYiwIAEmQi6J71MlkcXCi18WBJWWAEk3WGiiHUWeHuLSTma5YrwGwE3uYlUUpLyjQb7xilfuB364lNt9Q24cUrNslNOhuJO2BOMmCYKESV6GxRaL8q3gPu8p8/Ntt+QLzrs0BvP4gP+c8NhSCetbYVNMrNJNlQsKIkRk3UijSVaQUYJ+CN9cn02EJ8ofwbBsbgzH5gA0KsvfXqWPxkUqE9uIvsFqlWopHsihdZC3DNZhk3oTp6Q0pqTaapNCd1dsPrJ6oKCwVDxB8kohIbGuNgNH63UE80hn9XqqOynYXd+8IKT2ctemFyO27y/NCtSc6wsaZwhcD9742NAhOGvK5jftndL5XiG55uSTVbqHe6x21wjcNfU1NKVUeeSiQsYN+0/Cmfz0jWiF6/iHSisxDYRcLCCunkMzkficNHbL+YEUK/XHwGSb50v2sXjnQQ5L5/ouaouigP+MFnoZTvefGIpveCvOlom7U3gqOG6bPSnDeCvreICljScvhdHLwR16uZ8An+z/1do+vIbExQT0ysOS92LLkRcPItLDfplVP+848/fJLDMrfhM9xVir5aiaYmbu5qMywgMyg6QeuaAvxQ2lgyJymWFFocRE8Y7UBPRTF5gMuxlw1DKf4A5e+KFNsmnuI1G6CfLXdKzBl/dXI/ONwKzmlMKEzeqD2lLCOPsXuIzFvII6XOpFxRcUsbhDTe46Fl0P0Nymw4em8E8D4gqT92tlrjwHk3jTX41cp/4kEfMHmfcpzWJ51ySYz5fxTQI7998ZhyAm+CWpTriD05ooGeiS2ZyAEIy6vAzwzjR9JmHhGgrBUy6ZT33UDiW8GvysA+0VCkuhAJ4jEqKB/b32G1opsfSRqO07k/9AF/S54CsvF0mbgryFSoOkirtL6o79/ToTEf+xC/ETWJmstacb9sNIIM9SzP5tmT8BPSXTICF3qrlzZ58Nnvb/x2kKfGtUNDliIvFbIxjDT5aqqNH9R8muXItiW2PKyF4uf/+4JQBbAEIRqU0jjjBNvu6tLF2GWjzsUMHFO+4IybJFuCpfMiFujA4SBSJ2B0ulbSuv+zv+s6vmCeBABuUD6ekvGRSPGgXbd94Cz3BbDQnUvFy/2CbVGIfij9+pxWj3owhAyYN2ysH95Merqii6gDT81qEO0ISh02be0kSD/3rbmY3qfcyw5OB1nF8n7Qjl0fphfWMPkgDFTyzL3ZGhDAyo9ICSU8ZdvpC7dczk5zVahTmu5mQ3lr51Ia+in2W02tjZ8pYtgmFIHotgePaOaxBPRudATE9rl2Ui4QxX3GeaYsmj6UdhKt7yjGqDRgPv1EeUNArEqdGER4/CBAnQyEFWbfzNMv83oh/Fo1K05OXSkSfe5sRhS+NS+plgjv8+WkcWLg4H7Lobr0rPx7FrKwZ3si0rRyKN08Uv8RoM+p73dIAwF84t70wHna2u9OZc7b77wQytMjjDfShT16lM0LJ40YKIlV1teQ+8ie1sRi+McCq16s862XasR61Nn4xHWQlRPr+VEOWOr+6PNsf8opYxdvnb+uB+W9aXFK3XWz4HdQWZ30aDGcmXCE5aozAKY+7/LBmVISF3/FlSkNv9xR5GuxH9TeM3HRRTzVjiJ+oM3VYZrwuQ/39sBP74B9UUZHZcVB9SKV0YGe2+RSQwpHIhlhvw+yhv5oMlCtJYom2LOyhHekU/hiEvFHYdBBW82jbFsQzq+pO8n4OYnIdzBlFtz0OOghWV7bVabE6lJmG83dxgDXVIYyqyzFGzcguHwmsDIP7byHgsqnNvuDbR8P4ym3py1M4ZxktsAT+GQbYyihiusNMpH+jj7yvM6LpT/KIQrfabyX/Am7Fz8H4avGW3bzkCpfY4nXdDGuM4czumx3QZW6mM2knxApxIut8/LWPB4eTgsgSjTba09m/63k5ZSvZlDKDcR1l7v58oCUEu4w9a2tEFl2clSpRtOa118EJx6PYR9CrARl5WhsR8Aed6B5LO4LolCGYq75oj+M/ygRe4ECzp99CHQ8opzrwQHLBoPeeQLxxdgT8oEML53Y6yeUBJaHj0bO91CPbZJT7+k1DoRY/HQcCr6ji0XE0/cqy06Iibvj19yhXevbwOuStz7AXhD7YlCVkMuiQd8YyADtOWI3M0VGHHxWoiW/qi4GXQICtmQ/zOEUK7lzDGf/zylsVA3vkI8I114GgSTyRS+Bh1jbkH4/pfAweGH4f8f4QLzlVyDVJ/BmGbLK8y8bgBqI3I+7aVWMNF0Hv7aDpNvtOt4UTYiqJxpul3lkg7UicOYLCtRRMFQ1iU3DaYTa0BdB7cNKQ6FZMmQWSVZc/gyjtDi9yARBsUc/c++N/aksaRb47egb9xGsTeLCt2hikkbWVDo6LZRc83nX4rtlTIhpUketJTPwb+6bwHWbUnf+li76zoSCQGMuenYMyoiWlpAvwL+k5sPyRA/WpXGXY3OsGxADr8Kw+hAGmxDZxNdIaX2IL/nmqkIzQimo7XwmNiVA1PJ5edB/AUE0kfMZewizWZ4iuVHn5VsJI52joFJpwbw/dAJtWlro19ysHNH6e4jxvCNFZS8cRzh/2hNmvRfbgyX3e14KzKur4RdudWVbmPMgQZNGgfpVYus0mN3+Hdyyct5/WaSndDwsc4BmQ6yFMNPg2oHi5uzZ6f3LfDU1ICOgkn7X7+UtR46lSruAeB/twj3yEHD/Qdb9DiLyy7MBol5HzVdsWqOj/VP7tq2tE0WZesERreG3H7yHSyXMEUnIqAjG67O74JcjZAcxpEuPNXh3flg4DrM3SBbO6WkjaVKvBNgKnPAuT/zds/ChwYUjAE7OYSnzDr1+LI6jnCawBTRis7yw0jw0FxzHpRGa+JxZia38cFYD18IcrgPlIyfuV9NGeQmCDA0Me5VTzeGcFG7WjqO8OINVhpWK894Pu1LbBPHEtZGYC5iYWflJbm1oyO15TUJpsvmnjceXpjxeCm55/6SY3qryr1SiAbT+3LI8C3iyUA2mYL/XjE22CORcFZEYuqo9h3YTkPWrDwpHS2HkdZvuiot1IWHmkGNko3eKDMLYI+dR7yExMb9rbA5+f2kjbCwhX/g7yl7ExTNmMx30rZb3UNcE2IgpbR9GLTx7JeuLFnC3sl/deaf6ejxmJ7uQqk900/Jan8jcAYXo1v3T1NKYuFK095ujC9Qt/CytmjTlquj49WsWl/V0RcJYfRxYKM8jI2fYxURCbuOSCGSU6nP4TrFIf0+FTy+sTaIxP0gSBZKc13U1V4jSYj5ADfstagNSWXVUvvT+qTkEp9Nd4fgOV8IXy9ibueKy7sO8O7GN3mbBoVqN+HR5h6RsuIQZ03w3q+ITnHXPChOlOKhRsu/zTV9NO7o7QMdWyCLC/3ddxlaP0oG4nv+iAq9FszsY8SXT7pu/QFvrq6BjcI4Rx+EHBzlXDy5bfG/UCn1VGAyO0g55tWMUGfH01TQuUyBBdQgUB95iPRvB/zXZAdYPN5jFW+VpzHLOLtzZX/Lsiv5bmRpzjEFg+tHDnGbB3UiGxb4yb+Ri/9y9RJ5/m5IcXtMwq3sbbtFxEAuG9u6lSMLk2+s3NFqMgnoemPfr7cjP6fA7PjYRMopHOw0bXJ/+ybYeNQUWQ/IJrkJ4V43viYmuoQ7XmCqiolJO9nvSpLIK6dlbCY2qq3EE7B1Sc4vBKDEWQtLdVFjSmSKbnJ1Dw5LZ1ZN7QuXRZSNqpE3h3D2rwmX14o13Umf8xbA/Jc8gIsoU8n8Uq5W+DjugqfQpwX5tCqjMGQuVi44Q7bpM7zoeEV5vvkoGbo+MYZkYSoT/O7PwZpOSTApuI5R7/RcGAWBYTh9cSCyVaBugtL/lhswtBQ0zwACxydd4YuQ492DR2F3BNehlpLoe0Tf+4XfefQDTMWLPiUqUFzRnkYC72PK+hRSUmD86jIe1z3FZKB0FE5VAq8MGja7eDUulW71Nh3SQgR/MvYixNAQ4bs1g7tfq+S57qOeZVLG9bKZG9vTZM0hrCiXAmH6FtAWMD9NRGUs0kN1nt5zhQcAdHrIao8UJ0/plDQryKD1Ii9wJb9DvEzJeEbjTpDy1pshC1CnHfJfneZrJ7ph5A/EdAzt6uZlQqfgD8yn97EYSqsVPnG19LUdeUN2QiSWHEl5FpvcTsfck1khWWmcTJhXawZa3n6G1fOzaO5Wrrxk8isRrJmE34AQ2RYZJMAjjy7l/G2uLlxKzwBLzmV2PKNMiBdiEfGw9lpsYAxr1NHDFsoZd16OFtS/7qBt+4pwyajK2RlkGIUbkpAAXY6Nimyy1m6+Dt3rQn2cy6kLX+EgqzdDWdqDespekWPANiux4dL+ekqxnS0g03xNjzha1UbclrzI/CRjFV5wZ6lFzhomEiJTbJ44g8E8CUjRCYiUrf8MIM11DboL7lIVIJZx7bo4Z/7ITZ9mNTFc8TD7mjKzSqhC3RZ/nzTqQQgX9zURbOyN7IJ+ZVyF3rOVbM5a23CidQyKoRGNXXeZ7Sni0268scnfWRKCGgvjaF/G7Bs5ZEPdXaUuES/h7zeGdfdsWwAanczSjLPjWaJ4gyV8NK/WWons8xeSfoUWyMwFDcswOhyAAVnPbu5N+m2f6drCs1Ey5qzkvZlNRubAj8J1eXqO7pLNBhNtpORtoIWkqfge6kmsIng1v3bffrBJ4MuQgDS/UKedqHLXqAfz9L8kaTELE+/XB75MTO/7PHVRPZg46hbraDVBt3ln7NomI0b9p930ZXGDXGJ+oNRtaoPRcrE0L5hbrrUbybzLbArAoMSQqn6ikp93xzio3NbvwrVHsS2NkEcHWuYqSz+6Fhgd499GMr4xid4ALkrl5hJx58ebM57dfZVkO7aI4oTHaGEmL5X1nw6gwfiLIolYFYpaOHIFJMH84Irk2VQQnSjmVyHPYYRdvLsLprGE0eRBMbDcdUQLHh/CWVf4fFnjj8WlLIecasffB1icx4hqlO1JoZ0DGEV8oBnwdVQNpLpFtIzGsTqj8q6I2xY+gl0p3mPjohKZawJ8MPuTWRbl4vI3wsUQCqR+iDCfB6TkyfN/AUIuo8zuo82vrS+ycfZT3MoRK9yZhl5Ou03UDU04Mnn5G3kDfE2S50m4sg+tlhm4oytrlAmWBuzkkjwd3kBKbO3VSf6MT4m7qVmNTiQPrp3Yx/eyLtX5lb9PSVjfUuncP8uSVOq//m4DLp7zYLsCFt9VIiYSSygixN3ZVJFoub9FJR9d3CeLO/uo6CNtbCIfo2rejrNiZzUQmihgAm2kob7Rf/gtBNd97wusIkJPq05NJLSt1Mu5aT/SluSUf5Z9TE4/v9wL0Iv6BNLbsFSQa7ia2qXKm8VIaqf8mBeGgoZJaZriKMIRLRFOe+g7Vz0jBtS2WTsIszPjafIufg3HfrzQ3aQxQMO0QoOzKspx9v1yvn6A0DfMNBNGR+pazaPSSCaJb6l7W8ba1LvwGhml6cGUXNEpBOg6tjLJLuvhvoBlXaARAxXASENRWdZrOBmGucHD3a8ili4GLtkTreoO32THNT8EI5RtOcT8R3kKQ+mgqdr/6tgywnBWpd7eGbGBDPl4puDzhT/ZUe9m+smTD/Snqnc7iWLqqc8xE3VEgqGeNBJCbMaZ15iPCgf1nxWp7jBZiSjd0J0yX0Q0X1U9ax57hjtkM1v1HbpAYAwdX5lG9dqJWdSN9ZXl/VHrp+UuhHkH3vWjpffiMWZrY75AV6oDyyz9FCGSWuPJQ197MMpnghFKjW7RzpkhvSk9nei2xyB+ctqZplVX4XY8u43OAjrrdZyq5VICUIpxnjHFCt7VnjRL/uLvRUhDvND62wJ5BjH3SF5G6Cc0IMUo/3A0I4cDlBtvXLVmuKG0e8syIeTteYoWrHY3zT7k5PqDooLCKbkpPSQgvDe5PkpI2R3uTX6+P7C95F1lDkYPPGqyzBpZ1pS7lYA1DiXOaZX+ymSR3EfyjjGd+2M3x3/TtM2MBBqkOA0ZZkEdPGx9sm+ZhPo8Prp8wZFdOuJ7Fs3PiasjpQ8RZdRyNMmuYFGoxweePWEvl31RPvioeGAYcbrSCIrk2AU+xlRPTon68ObP4M0s1i9YF2M4Nnn+XesYvL0WE9xx0qbT0E7vpdpA3fr/gXtaGhuIfvToNjAQpxBSC/G/CPO7qZVQqMVt8Qiu9hDYddTUvGkcL+BYEKPaiAeLoOeyl4PCU+oPzHtIuaw9cdAQnxb5W82TZE3kP9hQZgDzBZjNBoeQnhZIqao8P6AP9EH1CS4xxx0qg++3kfvvWYQPqLqduENYjPI1Me6SKst7xkaqHTzhCA1jZtOuuO/XeFVXf6/w35suI+105nAnckgnBJ12N91ZJzgsPwtEAbq86PaA11D0RBG+eUopANuJ1jK4m9GLS9CdFhLYCzSDbjaTtk1zttbwhEt6xKcNUYBHz+SnvmwU13pLPh76eAM9emtjI8JkSjBntVVzxBrg9TAyEReWNyYD5t99lSX9cwNbuCptoZD15f243zV6oFUEXxpGRmsoaW3/LlN5OKbTgt4sLQNyUwuFV2Kg7BG5MeQ6zIQM4HN66PtEgcjHwvEkoyXnQyI6vhMuHMdqE1OzyNCwBtn6R1nvPF9/vX6KzpaHBgvqrAGCilkCF0Fr1pmGYSyDNhktHbeDt0ZEI5dJkCTg2lY47tmZF518k1BDy9UCjcWiZLBUdUefAy2JR4cHk1Rgqb+UHo6DbqdQ9oUUf8vQi6CqrvpTijs3N3Ad2oqbh8p1yVwhcTyg+DO6hg+fZ8SbTcClQ7rup26ryVcI8gh37ySr8sYwZhyNtAXfXIBVQhPbolG8SZtHSF5e1aWTWF4Lr67hVxs1k/M/AeL8EZtmm14oKQE8PukRLVrocDLgqUIMAefs3/+awabmlmn4ShT4hsxJUOzkx2HVC07Hc52aIytvVzZ3v9lEBPH8ZqCJrjppEtx7XLa3BkN7mO9cNj3rqTCXIe9gKxdwsKcReAx6UZsj3nxKRuXqFXvVsdEsU9u9GSsIbqxEdYIdpC+OxEVM4+P0MsykTu6ppek5wTORxMwzqlSScgtOANhgil/ymn9+R8tpaapOUqONX+o9c4/+NMMcfmqEmEY+JQ0caMp90+41Xq8TtLoYSoGbN4y0FqLW5m7aVoFOtXMYZgog8jYbGrknHWLceJGn1R9WFwVT7biZfK+EGTPxagg/SzExjLSYPrFiZghVmbl8Q5UEAWwWTg+bqz3ydBj0hiujYsDKcAFVehKlf23U5ncfiBB/THhq4zG4lvzLLWiKUnV3untfI5egeQqW/mDzT8ndAg/WmZLIqURS6lhNU47+I4JPdBcYtPuxr/HBzirsZYQKqRDNN4bZI+pIpcnw7eyCp97vyB0YDY3PTLeZ1Y4gVWFTv5+6najHL9I1Y4kV0LVmAqcMsLRwGAmBUWBZgH9qjbNlcNDLlW00tRhYetZXU9rcMMHvzHjKaKeeXA5mfnSd0CBzHQiuXOtEN7wKbK1QQ5iup3+WDVs8zXWbIcbjtNf4msZMGMrZ+T6CUEt2tja8aMy9IXKrPdWleVWKAwXMpmCqWDCSF1+c6bu5K0fgJQbg+kwMEt2ywXfaTYPgBUnLwx/JDuk2GF+GqqVmtdA+ABMlmP6L4jetfL6ICVrItv277Wx1f4mV4J/xa6hF4v1tX1JUloWRc7OzVWfGCBWf+vEosIvQD5qjB6OkqzcdwHbeIWIEyE7lpe+ywwx9DMNiZU5VzMBQ2prWVLl2dCKYPTptzt7tfkuvAoNoqXBnj63Tx/VNOvf4O7i3/F+UteQ8JVXfJ8A3TpRkuFAgUcXpUOScW4h8tnO6fUPmRAwRwgcU8vlOqVs2A+bSEnH+1twuhJ3PtldA3SQoe6x+k0rjI1dUGe9HAQYe6zmo14zNOrqCbtlrSzKt1TnjhPdQLl0XZa6f8AOEHMNibd+Vvdp9o0Gyn/QYNFEJFllXaAu/t8o8zLgWQfm8d7XwWw2fvqDfdRDLIeup/thfuXnKdGYcxVxUs2giQeKsp3yWhmmXvCMhvQGBHLjTv1H7/Xu2uT+JAsQ6w7NYP7sgOyX8U31I9XQxgwKHKzSOj/6i4knN2qOWBR2jSQFi6VLnWnCURR8+sVIdNYl3eGs5AWK6autm4gb1dPaHctdBDJTrd1FdGH3a/CwA9YvDWdNWeDfbUK0Q6NWkErlmD2s7hyUOPxP/3exxopaD0tbdvuTCkTOwhxg6hseaPBskcfDrMArH0bwr10hZycpzBewur3XhlQTUztUp5WOeFDgEbz6CWqI9d7lc0TpRB3pblJv3p2qUIQwKbrDoJQNy8rL7XjMHt95BFI2wl8Kku6xk0XBFq+BgqNdM6kSK4vCQh5UDaAMalvIqwHdFfvKZvQoVLahwgqu267nff8tMAIS10VmSjPV0fQW1cKM7yWHWaY37MCxtUCrPKYYr875tEHkz/yX694pmm5p3dlBvqZzeXarK4tlovybH6lB1JHh3c0hzKwQW46uhGMPUoWTOh+8yUQNycc90f2Npw8NkqsfBZdlv+/g3D5CD/ObikQk2TbAkXAA58tzgqrwx1t2wWliR0ALxYM6RtqveiGLBGfacYsCPqwlMs3eOc4QUxRNTmTYsF7y0k5bRUoIORj+RVn/dWQhxbU2ScnJsXjuqc3QGGwlolaBLNHk4o3eTZ9fZ82xMIrr8hgePE2oW/1Lj9okSLh+um6Rn8dqinMG83gBQfGCHNk4fZo1dAOCTyK6ARyo1sjxtTpErPVjlOD5jL1vWUWDeNX9cxFozkK7DjvNTRbz+ZTr5p//QF56Q+AhyCyDwP1tpfE/gWDP9EP5dEp7XLAGRm8nseMROrtydzFiVKN9qvmzYuZRiWB4B86oWEVLryV/xKhvB0KV9ZlJD0Yl792HpqBPVIi22FuFv88R0UETqt1WmNtCTfdhe0UR1ZhOwTeV+XM1NPbxwaNT11URaFd5ZJWdZeuwfo24Q+NIInxn2dF9z5wXOSgmuAX0RGQQO4jLY2NFU4Dd3Kpc7NiTevyqTKZjDTA5dDay1qHUGtjsBJPnV5t8XDBC0ncS9ZU/v7ok5C+FXunfCe1H0yGMSfUWvTJ/r4L/HhAaaP8RilDhRizMCerPU9f3mUdI5B6R9Vhbe9aMEA080j1I83V5fl9IIBQKOTknZ00EvEGoVR4mkifoNityCZmdiyNTp3mHeYGpQFZz9nMW+6NpJ39A3mydGvoaiGApWAJWQ+lCE3qAjvlWm4LUmC3Q6/dvR/6SjK5RyH8/L2mnRGmu2Orw/5xTxWXi9ywa4v1ddpIqKIfXcq/b0IKiCpQX4kZE8MI6ML7MU3EPjXVkFZm9h7ELz2O8Khc2LBjymM8iSmbZGAhgUK+zaDZDFPNtCwMUf0ALgpvfxP71m+H6duncbfxBzS1ohhOE9VpIbcvLmhi24f3ZQBA5cpfX73HMhU6mnVYciLmiHq9fPhv+ggmRPOxlBUPbSf/ut5oxTOXpBgYjq4GTK3BBlRytpBgpbAnpGMNXxJzJJvkTzZCJunVKuU5MhpwVn8+eg+k123q4NE8+bUPGh8/Yai5+cbi88BPYF+hxCTm3nlviAhVp/bm1voi6c06AHfHjMjbkKwaK77CtOzUb/8NejrtQy4slJ/DpFMxSwpvXAjzD1s6pYdR+WGsw8Kl+jUIIDaQKmSEzBXwG0u2Zw2IFYcRhgrI8Y/g2cI4bhdi9pOf0DV2bP500h79BvjpbpRcIsqVXuE/N1TOpI6SmaMUGi9SPLk28XFCB3ltlU0FVKfBoo8M3KyA+VnB4eLm5oP7h/AYM5WdHbVG8rkJEnMrZQNU2ScGAxdNW1DvEQyAszBkuJ7OfpOpXTcaCdMnHUahdAN5ZSSjtobwOaLEwpWXOqjzydNoUamGvQx9Q/ufq8biGtmZB/isyNJgPNKmWOKZX/vvxWiauDcg8Gal4363VGM9tjuHz43TO1ChBt/memviJy5Hw4uKv0FxRG0SNzKYELknAWoCjhFUr4Ozd0K+k/aRz/ywBhlK9KGnVb74M1U2kAD8uejUHfkNpvUDkcvgJWwUp1EjVeCfwVUbQYUAQwVOlDeDnmD6PnEZuCCLpfZTZ4dYq//Z3Bw9kTGUGsDdh1XBIH/yrO1AsVhGLdcm3VkLBOq4BNGbdmUEp97igm/ZNxHaOcZjt1/uVcQtV0CEjSOQkhg3nricd9XL7pjwVPsyIIFUqqmxKOnKcNpVWNsOQsfhNGWz/G64TH/6AEMS6Fvja6GHVeaiDxPoppqlZHQnijVlmMvDyGrHpi8opnjHWIkcze3ZQl4IL5CFrrca2g5ev6S73O5zV4CyIPTlT9r1Jl0zYiNYI61jCt+sJX+Ld/7pdrHyfoK0Tvm5dreToFFb0ORLld1SsqSZgm6ACyJNcpgfUqAoqypWDxnIYwJPivXUf75nCZoeS/puA1PtpqI4A0sg5ah8E2MZ5WVmWLeYR37Hrrh1rV2Tyyv3bK+wkyshQZSDVad9SgVfm9iSnKT+lVDsA9ULvslrOxKcMFvwO006UWqjDJM4IdoE2YwsJFZsawiIIaqE4RqLZU/KQ5EIblx3vigltL7d5xLoi7gsD3DIB0JX0kVLtlv5gZ//DH2iraPzGm8gmQJodoUGKXwMLpWEgVIKXCtBeOvdW0E9pnVbXxEnT/tP+SfqnEzGw0ZN3cw5sDifp+qGbdcdDU0HWbPI1cyFFRHuNNTAcEMkv4YZJSDe2CCdK2rwkRaBGdHXliZMqK+pfFAIq82R1vztECzTj8Gash5raaRl54fupsmXMQJjzOxh5zIdLHyz/tvUNzdN7OI2qYUymRV2HXJQ2/wrpUCTKCNwZlORJs7tosaT00cphGu4XRpolAhJwX+skLjgxESaMBF8HE68T7qAFZavKO0i0piRLdcMlEa/p/jX6PvJNbsCxL8+GExIWoyNqUNi3l/pZ+pmzRCZg82NDf3KAoizpkZbNKPW+kM8dgy/39wSLPy82zIO3HFuVdDRZKd/soeNmi3IOMiz44GSm2UR1LpDG02jV28ghKX7KBi0Jf7fBkQK01EBA+B1vQ8oOtqlZO8uQ94QMuVtImjwV77fs8c0JI5bPfCKeN4X0MWS4rzq+Y18t1cLFyihdWJTmXPd8CAKfVAe51fPvAMxHdWv4UC/oBb0/5SXRCZxmvHR5t4jTDxgwF/ZujVXT2Lcw+UHJc7+u4BbxCztbJjBtOcBIq6uI5PvU8w91orAwzS51cXi9TOPd+YObg5Tni6+S9ue9+2lln3GrNUMzXVA7yDG+vHW4PrQ9UGlnzy+U8pKk1as1XwBcUpfbz2HT+prA2J7l3APgtBXzGiaR4bO+bNxVD1KCX1Oo5hNftMu5SNe8UUh8bpJ2vd8mm2cnFa631w+agkFvnmwstretEDyI1NXT/P8/QQ0yr+DyPzbv8ehnqwArHCGdHoYIJ4cZdw3e4O4obWDp/llG26BBSSL+tXLAkhe9l3ogXsE5ShBh3ekJuPhAvQ5mAcij8Yt264jq2A/GpAwNsHg7fIVdyfPR2WLT06x8O5+qGormlEMAbKBMxu4NAL11opLeSY7sHc6xVXlwYV7EmOhegtEwozwKPlJwHn7b4getH9zdOBF7veJSH8UNx+YOOtXuRLHEH3T7DtvzhjhAZeZUZ/i5ghD9qU6w4+czE0CCxU7+sep72pwVpohrN2BwJ3Al+pf7y3WzF+0Kw2Nwq7XMSiY8cCU4FqAAblfsA4+dbTyXBKzduta3aZyElqSKKi0q5/8+60xok3hqwmNqtIR/dYhkoq4ww/R7RhNX3WCxsH0ths9zlslWMRyjDcjDk2VhbxkpqpWXzVDNTIXVhRqx9UwiFJ0YvntbJ5eX2buG1/rtgXgyZKZI7nMsNfWuS569CkfbMPUGbhINdCpkhPg0V3ZFiCCiObNKg58RfFwkECc+Md3vUbyCZFkHNY12L0w9Y06GdAXyV6Kt5Jeb9/FUVpkt9N9Tltw8k3LBIS+eEGyiMr+sTPbD55YooYO1qRxF0O8H5QzxnJNkTfH+I0f0+zOtr4iefNjGZEgWLNO/hxlIiiP8C8cp/cn9wXcmHSs8Eobx8hFykO28AoMFvDEqGLz7/NYTL6F4qKy9C7Ad2qbse77zoF8pc3/KGfA3fQu2nqRTJsQXrhxQACiMiDopv1rC69SLM2BKED9uEsfZ8HCMRO9bE/FaBv283MMUvACeKAUOm6I8t6scTaMBF1Fn5uJ+sduQ6w3yR5Q+A26aea2+t4BGOVLXolWm9pI4oOZ0eBzjO7gAQ4b1hXJsQ3uDB48sYDmUWyz0edhojNfse4e8KuK0nrpRnTLKoKMGtI8NPlOSjm6Sbv3vHviDAQMjWjJQbWKQMCvQoMuyE0b8+USRfO9hvQZwH1XtreZ3eh10BZveRvF4KSQvZHqKzu/J5W4yNHk5YCPpc3NLVlwg7g4a1PcsxLYlrkblRrRwQSgpojk7bb1aRJ6Q6BygkSRps40FVy+o8VIoUZbd0M/Tk+vGFa+8gyZmpi/5jeO/gg4JYsZnBSjQBIHJYj8wyISXbmMffTlUnl9CpSOqWde4ZkAMqId7hzj1v0NJv/m1/1urlgyqA5Nbu0qE//vO6EOOCwhTn1vqdyTQduGOj0Z7CNNHy4uDo5vk0DVT8WEW7wwEXTwLOVmYIknySEfh8BEjyfN5EaVax7s/MqRJlIPHKCA/SzCUx8Qs8zYtpr5tmpiUvMCqXY8PYP6pmbkzlzcfqint7RNcKDVxBqf9ufYKQBHBj73x359NVzMMTKhrqSjG3Sz8S1CuAYsGdlxJfIx+SHugkJzwzfUw4duNQ62PUIjxJdz+94qs1fG8KDjV0twGmE+wWi7opdSrorsYQjTpmxxLLeHgi8KXdpEWFRxHu/sm7QccUgLDtaIinNrrOqkL6+UQ1Ti93b5NesfUMZzVpuCVqacZYMGz50LjsYtGS//9h6MSERCvwZdCJZ/v8SaiuiUpw9h+rLvfp8Ql+4WZO4uhNutHWG78czSijvvwXTC5MGkMIZJHwqmhL3rdFsZFRAJLjYjKD4jddfdfKxni+eUAW8WPRrWUiuAJNsozVcjlKV8fyJRLWdMbCpTtmU7EsDtZ2CsHiqN9v3/djIoOpPF/ya+SpvNqDywjd5akawY4k0NnweWP7pHXhJ8A/0NVcUjpdIqAaJrfZt7MJTkjbETlL1jCMluWFOEu5GOxCyd0yMTLhiYvBCucoShkgjwWSlnvCmos4qgwmpzMCZSnY41H4i3ybREDr8NssQRVN3iZCG1jycOZ/v8JtHWFSofWRqeRXIbm3LvWPzdsJyzjDJBrsNgYNwt/XdijNL6BZ8M8DuroMt8zjTBYJtV1EUmh8tewFGluVyx33lNzZm63kpyFS6s+66JpBGIxwiJ+3EZfh4qcGB/z/U+nz4JmZwRmwa0jw9D2PysQlBm2QOUQIxzr9L9lVXMFvXoDIjTwEGujihEk62iUwnrX2g9bM1gT70mQ1I8gu+/5FRJf7RVobasfM4FYT+UmGjGDzElQBh9KaoRb8vbcaPasGkA4im4pSiYIxKnUbxGEjWaS6dw/Vl7Obxots5NwAb0T3vorKVRcNEad3ghcAN9TO5y2LGOSLPdPW0mx0mzUU40RzA/LR7wTrDXO0KnytoPujoXObNV3i4Gjbhgco5eV6qfMvrg+LVeurVc5vWdt7v2B9KtRZXrs3B3uMGOek3+5/ruhkURgHi2uFeLxYQ2ZPYWGM+t2zdK0QUgZRAyMj5aodOui8r+XHx8WOiQ87xbyOUm/c6hC4lMdGFIA/wlwKyhuZ63f5Hd2MIT8VKvWaz/gqCHH4h41ScUg4XB8G339gi2dumstQKJIIVPKv5TVqi33JbF7tyAdBPfaVOjl9+RsYiLypdMbkq9bpsG+gfA+qU8m7WZGaSKi/vP8RHAbToDAmonHaP+iWQqswEnw/kUJq5fzYTCAVJi72wIligucotDHtXGfa4X0EjJc5kjUyA4jHuSAkVmhMpP3ZYayQYtzJNXllQcUwVC0XpNDPaOBSM6zVYUp9GHkAVJ+iboT3oCLZqODhV5096nH1LtyZcdiAQmB+MNtezDOAkOyM3eQHZhBShSme8j/KjewyD+0ZkfgCxsOW3tUMFi4/j9kHuqVDAqq2AuDouZ5evS7GaPPsw4LhhrSH6U66NgEWJ5xcXh09l5p3jFi2IPZaKXvSzOPgdH+PaVrAYqZ1hsKnXsJ9X2/sqG2+pvVTrtI4QB96OChygDbvu9c6k+xtVBE8Bdq3bpe9AtQ4CxjX8E5Q8et35wFhnuIHS2IZi0CZk8ulULf2ssiFnl+VTD4+vxGrxdLMX75ep/1pXqhlmlEEZ6Hv5MQxIAwk2xNvrJQGF+hXfLKtnrFEEZXXB/oDGyIYeV1AAWR48HkRfRGyb+vTeKtBBwlTwnRirYFztMLLlIrjIszc3zg/jFTKXvdSjRfX1QxeWKR1iKfeauP/XdxiAgnoYSveAbLu6r4Y7q5gosg/+SmzbBFmTeRJmFi1WdrXXXlDmPZDJn7ZbRE/n/hErrZdGFtaF5sWqaz9ZYBSZnDVkNtXXnVio42FAoYnUyh0ECoximfdPsELUD7KIwA8fHtu6O1bkDE6w/tfrvHDZ7KztLza0z0AK/gMSSilrGQLzedVwcdA2UcG+Xdj95r7NnkvYGYna1QhAu3IpHoJeCkyX1Sn4x9fp1huzZ2M7dTlnht16QiKZI7HaBIOp4njY801CUPicYS5rvyb0LQskBxvwgk/0KYsurRawYFZzZEJ5N5l/VnOc8TnRaZFfyc5H/I/Dyt3LGFaVFR6zk6Fi1mJa+Xkta6dJ3I/P7td46ii645Og/eqhcFcK0A62O492vIb65dQGaPwj+1g8dwfCAO3H4ymjW5cvCce1rpoNWpWspUPfrYHxxDxIOl1WbcKcUfTIH0jiochvp0VoO875/2nJXhP0TvK6omKd790/fYJs1KppKU0bFO9s41YCaxU6ShkI8wgsmh4KHOVBZJ0GqbqZXRLU5jUE2nk9rRS7q7otlXlIlSE+y1tHFxgQ+rTeAyyavTl6zrjfEAy1GZe48RNNA1OKH3WA6N05IQgS+i/LmVCOyxV7N28/H1RaDprLA5xZ5SdgIMYHnMaFxIrI5XyOD55AKbbyQBJtGaNlqo15CCAAbJHttcLXjITCLX8Vx7EujERaQGMoUyFDu3Y1N0GiRXm/2oHx8aRho8ED1W4rCtN5PS1joI2Bi9EYMsFXdwGxGQgJ+oyvDxSJDAmer5tpWF6YvQl4eSzJRhNYjDPQavacLIIx4MVN4Guk0yN2BfucZKgJZAxq1fb+4ha+czlIrXuSGBXgxzW8u8bMj6bkDcGFxmtsFi3QQ+n7OkwQtCFFvSiKr0O7SJFplDCWIzzAfTopqoRfgH8AhlK1sxygdaTBHZ0Mp8UnjgkO6X4uqu6vKmDiE1FDbD6Ld9ScrpHYfVSrH2ZMZVG1hA/9KhOeQbQFmklwq1uABxB13MdKmQ0uIc/AQqxF43OEPDhuw+qttVQUW5rEPBw1bGCGAsaF6EFGOrEoS43YiOXzjsU67dyDWT4Ym3ERlJIHcpQ9hV57CXsh85BPU+ZjXSjG3n0TvI7ja02g/9+SIX5wx9jQNwgRVvd1Y3z7984tRb27rDzjXMFp1WbmSPPiiw9+c0RcgIHo7TDmcfoc4DsHCzxN1lKDpAeKMJZPGix3GtchZM8S0e4iadP97/VSFl2eyVwDZyLpgQkT/jT3yG2mS7KXskcZlUXYPLXrn3wq8u3+lFscT2XeZBLVon3DqI2sfm9e9fRqhnHI8ESAGoK4Uln0B8GwthkMzTa3H+whU9OhtoFteqzM5k3uZllBT1MBhGbV1oL8E+VOimwrHwX8NwLJbVoQ5WDM4dUg1vvO3idiv5KcxOzctJOb6YZ1UPMjDNIJ+k4ZyjDo1yKGXe9BxIuTMO1XpFad7LwWy1E88oHrP1ZnZ+GBdhdhPLX53z6hxIQaPl6wP+Kx5/0Pqz/KzskEItfMCwxlEImrUOR3e1f5IxtPeCzjJMIMHe+V4GnmZ14JfYvhiVElPKT+Kpw/jnZk1Kd++j7C8ACCAPCH8aNFpV22jnNd6WO63JVj55UtcrptlEDT9X7WqigPnZBxG1cGhYOLVwCh4XBgNzDOluJgGh6wGbGdherKLCGXGMnGkHL833dNEhDS4QBXoMTnOPtT46Y/n9sMJzj0z8YOfUzoxL6pk31urmBdtwtifWsoZyz3Q0Ru6uFKeN1H/6DkfwAvH5YThHcCh1Av47a6BImwFUwHG+/zj810UdUupGDBBsOcXBvhamxlnCROR99Pa0rIU18NrqgGfQE57OlZyzI4tHOPKPJX1O09MGLSS+MPnCD5qbTxuZmcKqU/YIDZJGACIP+839XDciwiPPs2VMbGMxffWJz5hLP2sXoz5G8Hq7Brv7AlJmQni1bud2Wu+mwB3OmKy634rBLwBIoglZWh/WIKdPwwYaEsZkegiFRmmUAbYBljEcR369Uyh2h490NjOtix0jsfOpEP8NA5/MghshZ8gjw9bFyJPUoEdDlv6HzwMTh8cXB+YYQiLUA1RtmeoZksN6P7ejtoD6B9p/bYATEl3tN06lZodSObXZNiANGStRU4gVI2N94MXyZCkB5GRkSAianAfNHKMewK5H1GS9jbNegjOCunX6gq6ALUDpA8i4fQaEuMYbujeUpXPdPBl+gsDrVdHBpS2WE5Jl2ImqJHn/mF4rd0ie/BakTs4Wc6Uzn4HDv0Rh46ilCdCazr1R5CiZMMYkwRnZ3ZCj1rK/NiTgnawEtHUcWht+oSm9/Gh60chGI8+z+kPXAgQq2E5wUctvNjq8q5SjqvnQAGFtiMxOkmdhVQcO7AIG7OJdvnaYN1S5a8gG1un/5Xys28ZGRJ4v4r1sXp4KQb9g+zA5BkFXHOT6YCEFKaNS0R4qzJACfubfwCNGQKRJ3H/77AgkcwywX0eg8mtbZMgxilpLmEXRc1xGe7BTR+SsSbs/usuXFSz8oyKUZryH2duooRCTqCA9IOcl/9bzwVnZj4yVzJqirVqPHtmcpcGMe3IR4Xr0InEvYBnW2WfrvuI9Oq/ajjprQVAAEZTgrhWqmOelczGq8dqYrA7We2E6HcWhe9NLWE52NCFkvszBfPSYL/3dED2PA3hkBMUYMfZl7wiugkQqQ9b6Lt098sFAaBOIpHVu3b6B6CN75GdnIc9cKqKWKVb5Ed7/rbdh9RVhZcEy58vDfJDmJjz66h4CeyFzGtaBFKatKbzKYg4CKPZ/Ei+vOLfV6IWr1VGDvDVsi1L340Oob2QJ2iehLPLtLPQkY672P5DR2M4xzMirhVQOTPu9x2h2GfGObupv/Dys7rO15I6t4vI1yNNNXE3E/vUnHKHndKZNBGBkIntSG8/74knMyC5DiyOXYF0c9/HJHyLT9YQ6Bwt8hUipOI4u1U5/jO9fxnq5SSay0Ks9Evrujxyg5bjsDJ9DcH2DvkZNZaJZJZvXajEVmmKJKPM0YKWMSZfAkoK0fNrjotqxGRkoOOR2YjbdBYqfl/k2e3ik0G5QTRtRlsmLySANZHWYq+daviH4CTzKrodtoZnzVBpl9RqPTVxGKljU7iwJEGFNNfdnVN8s90VqUQPNbM+gg7xFznppENiA0nekvPAB+36kSh19VMT3VGXqL4ei7L6POoTcRpeeGWNQMrK71zt2ZQQObZIcsPoZowWXM3rKsZZD1wXYgv2cmuL7zVBLP/fiBF4ejhf+obNkVR/Lqj8KwcKAaQ7F7pWp64IoG3YP6E5dLbN098PxJdnIhjzHkuSadjRrjKoWqmAHJnJQWtt77LwqPerymMI/ZC1UQ+jJx6EUcACl3DBxDKsenVa51Suw3JsP+kue3RT6PMwUqq5Knjmf3n7ia5reX4z8BuHCbD80au+slWNLtgsNsFGjxn9xlcxJ8OWj3nMuALZ2KZpw4ys3B5CyyxVUjmnoTWnytv62DosH04dUZK6q+pfwJOKp3p0t1X4w+W3JRqwj3lco62RBUdcdINNuSE1LXaXAksEXm8lN6+gV+UdcpvWizv5729rOLer3Lz2DI8BsNRgtC5ZAuDvSCmBMxBr+t1Uax7SsI9d2Esskhc1mjYpHsgWKfRREnuVJznBQbYaYN1ssg5Py7sREEepdZfWeeKWNuG4NjLdQ3/0gs1gcRePmt0GbOAoMcZfyAzzlbvOitCkR5n/KdbBAvlRIjZVOeMlVZaKoggHiWckXBrXC4Popqipk5TbvwA6Irn8aZyicjwetJZmE8DC02nD0eBYSGhdcDjeEaMGaeQ3VucUFzLihXr6aTTkJz+B+e4ASO8QXK6DFiKHZlORbSuWjLP9/5obM7skP+ejChigdTtawvvzM3GmWRSINzkve9iXBF5F5aweEoXJ//tsCDTj+c1grm4FfSdPqdx9cfWe80tDiHYZbAIzlgw8pG0dalMrxMB2LAZVSBSZm/Oy1kxT/Q1qAyzsqQjFOY0a5JIjNG89j1jGeGqdKlf1+szQlV27l64ntg8UbwmAwY90RjXHNkjIeZ7ia6BF95tjCOJYkpnqML7+wQiP9G47qB34SM1j8dFf0C0S7tKhGtiGZ1YDhInaTTDMubL4+DVLqEZWeuwJjekjZ420eju5owll0pFPab0TBXhjUs+OnxWGuxmM5ulykTyOL/8AwFviGz4rw/uCb1V3Re5qAQ8hl/3XmBl7k7H/EePiwV820QUpyk0FufgcB4Ah6MbTlvpZAgQ9awxwQwGT0wiXBSvRsSVbK1XMI8jHXTQ8CVr1X2IUlH7PpLvDKXAHXr+/C8tY5zpnlnpuU+uDVxM8Mb9oRJlZfnHiXBNA3stUWboOZcd+czFrvO9djXlpAYEGNB2BtPAmVkNHVaVvOObQdk1V5zusv6fZLenMiw+3t4D1GcHg4AsYRsCuASzwdQZgoXMDY2NUYYyH4fYBpbityT/+7S17nDinlTNDtkBOREDGkb62iyBoWZRwTER2b2jc/qmAteAjZh2UKbezUEHacPURgUZno+l73OnesKxrDOulW9BaXdCsD6TRyp1DuzZbu6mKkcmg1NstIe3TBHznHn9Wrls+sSwLETWMN/njaCl60xzksKxa1aD9sFEbGmM7Wfn055JVI4in3WP+lLehTDv5modnI7vq/TaC09xqmuBUHQQsi9cyddlv8OclDKpVuKkimqpF9tWGV382D6p6VudhV8gJCgI5jUBHOKuuO/rfSuhQm+upHkADNpgb6zv12RfwswX24LaW7F1k1pCbI4mwUj7aNLMOq4qvdZYKR/htpTL4XraTUyJxU8TyhhETBAacC/2i+vlyoWkApIO2VLj4n0JkPKjLo3IxrwkKZ+suP4mM3Z4nN8eVS6BaA8HnHmzh1giClaOVOoPUYqPTJjIboM5pZo7bafAhCfKD6FTaT073oAo8nCH/UMW1HNVPgE5O2C+STnXFdcLVMLKkNOz5tcgzrb71LUs7kq8sfAFAM8CwQE1jMRxtCd8yQizomPqHCuQfW4xQnNXtqL1SP1gdPx+SIFaHO45PFZyQ8irxrwX0Qtqu22D68bAYcCgLbcfVr9YHZPJq8G2GbEqmvR+oQXfukVqP0l4jKhRKkJ2h//XHsJHI2RCE3RYQGrboGx/YoW0E3U2J2PFWWRJbd5U9+ynG5WpfJBIeZ8BtHu3dDm2ZIVUlaPzcszyqZZQAmwKMSuwtpjzTRDVT+hgGEpQoOu6SEFtC0t3tT8I1KGYBd79Em3IrWOaBar/5aorYv2xk2l5dAlFkBVE0iqbQ9HJliSjDHVxvzw551XfdtqrKCmfL00a4mS7fhrCzUVfki/BQ2fT01k7i6F1TNw+LwEFM2oSwI468mLYlisctcxvbagbuxXjprAkHs7V5O5rXkDfoIJeAaaVJg7DcZZcSi/+0pxqTJmPu+IO5tYTIU6P8BeQC4ZFH2PX2Wzl2+ThXzdhQf4tBpd3XfD61zA8mu6twL+4AgB+p7sheWfsh3/4VJu+vWm20pGsBf23/GtVR6K0ARqrleuLfhoeXNHvX57lrGHVs9T1pIEMA6ljqqEng8yO4V4EBjvOjPaajHo26WFE/poUxdxC7f2toLAeikhhMWqeo9ble4Uvhkp1x/3UqWUJPigoOger9iBOm9oBJLjKX8ePWwLdcGOeM/VoAYtbimcFx+6sUDdGANPWZyiRfUjs7QR47Kjs017RJvfiytlH7KwcIc8rDt29M1MnHs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71475" y="1362075"/>
            <a:ext cx="8524875" cy="493395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3543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4DC901E-8419-F04B-BC27-8FE3FD6CA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950" y="1631950"/>
            <a:ext cx="7912100" cy="359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30068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F18BCC7-2B32-4345-9E5A-CF4F0E5737E9}"/>
              </a:ext>
            </a:extLst>
          </p:cNvPr>
          <p:cNvSpPr txBox="1"/>
          <p:nvPr/>
        </p:nvSpPr>
        <p:spPr>
          <a:xfrm>
            <a:off x="2354692" y="2757250"/>
            <a:ext cx="445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oday’s marijuana</a:t>
            </a:r>
          </a:p>
        </p:txBody>
      </p:sp>
    </p:spTree>
    <p:extLst>
      <p:ext uri="{BB962C8B-B14F-4D97-AF65-F5344CB8AC3E}">
        <p14:creationId xmlns:p14="http://schemas.microsoft.com/office/powerpoint/2010/main" val="213440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8885-F4A0-DB40-B290-56360E0552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9597" y="4210050"/>
            <a:ext cx="6858000" cy="1790700"/>
          </a:xfrm>
        </p:spPr>
        <p:txBody>
          <a:bodyPr>
            <a:noAutofit/>
          </a:bodyPr>
          <a:lstStyle/>
          <a:p>
            <a:r>
              <a:rPr lang="en-US" sz="7200" dirty="0"/>
              <a:t>Why</a:t>
            </a:r>
            <a:br>
              <a:rPr lang="en-US" sz="7200" dirty="0"/>
            </a:br>
            <a:br>
              <a:rPr lang="en-US" sz="7200" dirty="0"/>
            </a:br>
            <a:r>
              <a:rPr lang="en-US" sz="7200" dirty="0"/>
              <a:t>Who</a:t>
            </a:r>
            <a:br>
              <a:rPr lang="en-US" sz="7200" dirty="0"/>
            </a:br>
            <a:br>
              <a:rPr lang="en-US" sz="7200" dirty="0"/>
            </a:br>
            <a:r>
              <a:rPr lang="en-US" sz="7200" dirty="0"/>
              <a:t>What</a:t>
            </a:r>
          </a:p>
        </p:txBody>
      </p:sp>
    </p:spTree>
    <p:extLst>
      <p:ext uri="{BB962C8B-B14F-4D97-AF65-F5344CB8AC3E}">
        <p14:creationId xmlns:p14="http://schemas.microsoft.com/office/powerpoint/2010/main" val="33630203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23" y="1227888"/>
            <a:ext cx="7821908" cy="521721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63560" y="6489290"/>
            <a:ext cx="10815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latin typeface="Helvetica Neue" charset="0"/>
                <a:ea typeface="Helvetica Neue" charset="0"/>
                <a:cs typeface="Helvetica Neue" charset="0"/>
              </a:rPr>
              <a:t>Source: 3CCannabi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56626D-0E23-2E40-A894-0305788AAF89}"/>
              </a:ext>
            </a:extLst>
          </p:cNvPr>
          <p:cNvSpPr txBox="1"/>
          <p:nvPr/>
        </p:nvSpPr>
        <p:spPr>
          <a:xfrm>
            <a:off x="502276" y="0"/>
            <a:ext cx="393409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t This…</a:t>
            </a:r>
          </a:p>
        </p:txBody>
      </p:sp>
    </p:spTree>
    <p:extLst>
      <p:ext uri="{BB962C8B-B14F-4D97-AF65-F5344CB8AC3E}">
        <p14:creationId xmlns:p14="http://schemas.microsoft.com/office/powerpoint/2010/main" val="1614194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b="1" dirty="0">
                <a:latin typeface="Helvetica" charset="0"/>
                <a:ea typeface="Helvetica" charset="0"/>
                <a:cs typeface="Helvetica" charset="0"/>
              </a:rPr>
              <a:t>…But Th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171510" y="6617973"/>
            <a:ext cx="7138556" cy="240027"/>
          </a:xfrm>
        </p:spPr>
        <p:txBody>
          <a:bodyPr>
            <a:noAutofit/>
          </a:bodyPr>
          <a:lstStyle/>
          <a:p>
            <a:r>
              <a:rPr lang="en-US" sz="800" dirty="0">
                <a:latin typeface="Helvetica" charset="0"/>
                <a:ea typeface="Helvetica" charset="0"/>
                <a:cs typeface="Helvetica" charset="0"/>
              </a:rPr>
              <a:t>Source:  Marijuana Business Journal; other open source media</a:t>
            </a:r>
          </a:p>
        </p:txBody>
      </p:sp>
      <p:pic>
        <p:nvPicPr>
          <p:cNvPr id="12" name="Picture 6" descr="http://assets.hightimes.com/styles/large/s3/e22_cannabis_cures_collective_medicated_gummy_bud_leaf_0.jpg?itok=TBPEes_k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7813" y="1270771"/>
            <a:ext cx="3875212" cy="2233153"/>
          </a:xfrm>
          <a:prstGeom prst="rect">
            <a:avLst/>
          </a:prstGeom>
          <a:noFill/>
          <a:ln w="222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http://www.weedforsales.com/LOLIPOPS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25107" y="3830012"/>
            <a:ext cx="3629736" cy="2506803"/>
          </a:xfrm>
          <a:prstGeom prst="rect">
            <a:avLst/>
          </a:prstGeom>
          <a:noFill/>
          <a:ln w="222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3754" y="1270771"/>
            <a:ext cx="3646583" cy="2278082"/>
          </a:xfrm>
          <a:prstGeom prst="rect">
            <a:avLst/>
          </a:prstGeom>
          <a:noFill/>
          <a:ln w="22225">
            <a:solidFill>
              <a:schemeClr val="accent1"/>
            </a:solidFill>
          </a:ln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Slide20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488912" y="3548854"/>
            <a:ext cx="2129046" cy="30691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164" y="0"/>
                </a:moveTo>
                <a:cubicBezTo>
                  <a:pt x="10191" y="6"/>
                  <a:pt x="7208" y="18"/>
                  <a:pt x="7261" y="33"/>
                </a:cubicBezTo>
                <a:cubicBezTo>
                  <a:pt x="7379" y="65"/>
                  <a:pt x="8352" y="82"/>
                  <a:pt x="9126" y="65"/>
                </a:cubicBezTo>
                <a:cubicBezTo>
                  <a:pt x="9416" y="59"/>
                  <a:pt x="9445" y="66"/>
                  <a:pt x="9451" y="146"/>
                </a:cubicBezTo>
                <a:cubicBezTo>
                  <a:pt x="9454" y="195"/>
                  <a:pt x="9408" y="253"/>
                  <a:pt x="9348" y="275"/>
                </a:cubicBezTo>
                <a:cubicBezTo>
                  <a:pt x="9226" y="321"/>
                  <a:pt x="9105" y="288"/>
                  <a:pt x="9160" y="225"/>
                </a:cubicBezTo>
                <a:cubicBezTo>
                  <a:pt x="9182" y="201"/>
                  <a:pt x="9130" y="191"/>
                  <a:pt x="9030" y="199"/>
                </a:cubicBezTo>
                <a:cubicBezTo>
                  <a:pt x="8931" y="207"/>
                  <a:pt x="8865" y="236"/>
                  <a:pt x="8864" y="272"/>
                </a:cubicBezTo>
                <a:cubicBezTo>
                  <a:pt x="8863" y="316"/>
                  <a:pt x="8805" y="329"/>
                  <a:pt x="8637" y="322"/>
                </a:cubicBezTo>
                <a:cubicBezTo>
                  <a:pt x="8512" y="316"/>
                  <a:pt x="8384" y="294"/>
                  <a:pt x="8352" y="272"/>
                </a:cubicBezTo>
                <a:cubicBezTo>
                  <a:pt x="8320" y="250"/>
                  <a:pt x="8255" y="232"/>
                  <a:pt x="8207" y="232"/>
                </a:cubicBezTo>
                <a:cubicBezTo>
                  <a:pt x="8143" y="232"/>
                  <a:pt x="8151" y="247"/>
                  <a:pt x="8234" y="289"/>
                </a:cubicBezTo>
                <a:cubicBezTo>
                  <a:pt x="8342" y="344"/>
                  <a:pt x="8339" y="348"/>
                  <a:pt x="8173" y="392"/>
                </a:cubicBezTo>
                <a:cubicBezTo>
                  <a:pt x="7979" y="443"/>
                  <a:pt x="7643" y="396"/>
                  <a:pt x="7666" y="321"/>
                </a:cubicBezTo>
                <a:cubicBezTo>
                  <a:pt x="7680" y="274"/>
                  <a:pt x="7391" y="282"/>
                  <a:pt x="7276" y="332"/>
                </a:cubicBezTo>
                <a:cubicBezTo>
                  <a:pt x="7242" y="346"/>
                  <a:pt x="7152" y="330"/>
                  <a:pt x="7075" y="295"/>
                </a:cubicBezTo>
                <a:cubicBezTo>
                  <a:pt x="6999" y="261"/>
                  <a:pt x="6878" y="232"/>
                  <a:pt x="6808" y="232"/>
                </a:cubicBezTo>
                <a:cubicBezTo>
                  <a:pt x="6738" y="232"/>
                  <a:pt x="6627" y="200"/>
                  <a:pt x="6561" y="162"/>
                </a:cubicBezTo>
                <a:cubicBezTo>
                  <a:pt x="6441" y="91"/>
                  <a:pt x="6440" y="91"/>
                  <a:pt x="6550" y="182"/>
                </a:cubicBezTo>
                <a:cubicBezTo>
                  <a:pt x="6611" y="231"/>
                  <a:pt x="6650" y="272"/>
                  <a:pt x="6637" y="273"/>
                </a:cubicBezTo>
                <a:cubicBezTo>
                  <a:pt x="6624" y="274"/>
                  <a:pt x="5730" y="281"/>
                  <a:pt x="4650" y="289"/>
                </a:cubicBezTo>
                <a:cubicBezTo>
                  <a:pt x="3569" y="297"/>
                  <a:pt x="2491" y="317"/>
                  <a:pt x="2253" y="332"/>
                </a:cubicBezTo>
                <a:cubicBezTo>
                  <a:pt x="2014" y="347"/>
                  <a:pt x="1425" y="362"/>
                  <a:pt x="942" y="366"/>
                </a:cubicBezTo>
                <a:cubicBezTo>
                  <a:pt x="331" y="370"/>
                  <a:pt x="66" y="386"/>
                  <a:pt x="0" y="421"/>
                </a:cubicBezTo>
                <a:lnTo>
                  <a:pt x="0" y="14665"/>
                </a:lnTo>
                <a:cubicBezTo>
                  <a:pt x="29" y="15416"/>
                  <a:pt x="60" y="16185"/>
                  <a:pt x="92" y="17641"/>
                </a:cubicBezTo>
                <a:cubicBezTo>
                  <a:pt x="113" y="18601"/>
                  <a:pt x="152" y="19284"/>
                  <a:pt x="188" y="19344"/>
                </a:cubicBezTo>
                <a:cubicBezTo>
                  <a:pt x="239" y="19429"/>
                  <a:pt x="653" y="19671"/>
                  <a:pt x="976" y="19804"/>
                </a:cubicBezTo>
                <a:cubicBezTo>
                  <a:pt x="1030" y="19827"/>
                  <a:pt x="1178" y="19901"/>
                  <a:pt x="1303" y="19970"/>
                </a:cubicBezTo>
                <a:cubicBezTo>
                  <a:pt x="1421" y="20035"/>
                  <a:pt x="1909" y="20267"/>
                  <a:pt x="2388" y="20488"/>
                </a:cubicBezTo>
                <a:cubicBezTo>
                  <a:pt x="2488" y="20533"/>
                  <a:pt x="2606" y="20588"/>
                  <a:pt x="2691" y="20626"/>
                </a:cubicBezTo>
                <a:cubicBezTo>
                  <a:pt x="2917" y="20725"/>
                  <a:pt x="3307" y="20910"/>
                  <a:pt x="3558" y="21037"/>
                </a:cubicBezTo>
                <a:cubicBezTo>
                  <a:pt x="3656" y="21086"/>
                  <a:pt x="3730" y="21122"/>
                  <a:pt x="3834" y="21174"/>
                </a:cubicBezTo>
                <a:cubicBezTo>
                  <a:pt x="3893" y="21204"/>
                  <a:pt x="3947" y="21231"/>
                  <a:pt x="3998" y="21257"/>
                </a:cubicBezTo>
                <a:cubicBezTo>
                  <a:pt x="4087" y="21301"/>
                  <a:pt x="4211" y="21363"/>
                  <a:pt x="4262" y="21388"/>
                </a:cubicBezTo>
                <a:cubicBezTo>
                  <a:pt x="4287" y="21401"/>
                  <a:pt x="4301" y="21413"/>
                  <a:pt x="4323" y="21426"/>
                </a:cubicBezTo>
                <a:cubicBezTo>
                  <a:pt x="4379" y="21457"/>
                  <a:pt x="4418" y="21483"/>
                  <a:pt x="4442" y="21506"/>
                </a:cubicBezTo>
                <a:cubicBezTo>
                  <a:pt x="4447" y="21511"/>
                  <a:pt x="4472" y="21525"/>
                  <a:pt x="4473" y="21527"/>
                </a:cubicBezTo>
                <a:cubicBezTo>
                  <a:pt x="4473" y="21528"/>
                  <a:pt x="4458" y="21528"/>
                  <a:pt x="4458" y="21529"/>
                </a:cubicBezTo>
                <a:cubicBezTo>
                  <a:pt x="4461" y="21534"/>
                  <a:pt x="4478" y="21545"/>
                  <a:pt x="4475" y="21549"/>
                </a:cubicBezTo>
                <a:cubicBezTo>
                  <a:pt x="4448" y="21578"/>
                  <a:pt x="3300" y="21590"/>
                  <a:pt x="2097" y="21589"/>
                </a:cubicBezTo>
                <a:cubicBezTo>
                  <a:pt x="1827" y="21593"/>
                  <a:pt x="5575" y="21596"/>
                  <a:pt x="6992" y="21600"/>
                </a:cubicBezTo>
                <a:cubicBezTo>
                  <a:pt x="7257" y="21596"/>
                  <a:pt x="7937" y="21593"/>
                  <a:pt x="7942" y="21587"/>
                </a:cubicBezTo>
                <a:cubicBezTo>
                  <a:pt x="7961" y="21565"/>
                  <a:pt x="8051" y="21547"/>
                  <a:pt x="8140" y="21547"/>
                </a:cubicBezTo>
                <a:cubicBezTo>
                  <a:pt x="8230" y="21547"/>
                  <a:pt x="8369" y="21511"/>
                  <a:pt x="8451" y="21466"/>
                </a:cubicBezTo>
                <a:lnTo>
                  <a:pt x="8601" y="21385"/>
                </a:lnTo>
                <a:lnTo>
                  <a:pt x="8662" y="21466"/>
                </a:lnTo>
                <a:cubicBezTo>
                  <a:pt x="8716" y="21536"/>
                  <a:pt x="8782" y="21547"/>
                  <a:pt x="9117" y="21547"/>
                </a:cubicBezTo>
                <a:cubicBezTo>
                  <a:pt x="9397" y="21547"/>
                  <a:pt x="9966" y="21492"/>
                  <a:pt x="10924" y="21378"/>
                </a:cubicBezTo>
                <a:cubicBezTo>
                  <a:pt x="10991" y="21347"/>
                  <a:pt x="11173" y="21328"/>
                  <a:pt x="11366" y="21327"/>
                </a:cubicBezTo>
                <a:cubicBezTo>
                  <a:pt x="11485" y="21313"/>
                  <a:pt x="11633" y="21294"/>
                  <a:pt x="11696" y="21288"/>
                </a:cubicBezTo>
                <a:cubicBezTo>
                  <a:pt x="11781" y="21280"/>
                  <a:pt x="11906" y="21262"/>
                  <a:pt x="12023" y="21247"/>
                </a:cubicBezTo>
                <a:cubicBezTo>
                  <a:pt x="12085" y="21238"/>
                  <a:pt x="12129" y="21234"/>
                  <a:pt x="12187" y="21226"/>
                </a:cubicBezTo>
                <a:cubicBezTo>
                  <a:pt x="12240" y="21218"/>
                  <a:pt x="12299" y="21211"/>
                  <a:pt x="12362" y="21202"/>
                </a:cubicBezTo>
                <a:cubicBezTo>
                  <a:pt x="12491" y="21183"/>
                  <a:pt x="12628" y="21162"/>
                  <a:pt x="12736" y="21148"/>
                </a:cubicBezTo>
                <a:cubicBezTo>
                  <a:pt x="12895" y="21127"/>
                  <a:pt x="13090" y="21099"/>
                  <a:pt x="13169" y="21085"/>
                </a:cubicBezTo>
                <a:cubicBezTo>
                  <a:pt x="13248" y="21072"/>
                  <a:pt x="13432" y="21056"/>
                  <a:pt x="13577" y="21049"/>
                </a:cubicBezTo>
                <a:cubicBezTo>
                  <a:pt x="13599" y="21048"/>
                  <a:pt x="13621" y="21045"/>
                  <a:pt x="13644" y="21043"/>
                </a:cubicBezTo>
                <a:cubicBezTo>
                  <a:pt x="13697" y="21038"/>
                  <a:pt x="13752" y="21032"/>
                  <a:pt x="13806" y="21022"/>
                </a:cubicBezTo>
                <a:cubicBezTo>
                  <a:pt x="13855" y="21008"/>
                  <a:pt x="13906" y="20993"/>
                  <a:pt x="13933" y="20980"/>
                </a:cubicBezTo>
                <a:cubicBezTo>
                  <a:pt x="14021" y="20937"/>
                  <a:pt x="14093" y="20914"/>
                  <a:pt x="14093" y="20929"/>
                </a:cubicBezTo>
                <a:cubicBezTo>
                  <a:pt x="14093" y="20934"/>
                  <a:pt x="14101" y="20934"/>
                  <a:pt x="14108" y="20935"/>
                </a:cubicBezTo>
                <a:cubicBezTo>
                  <a:pt x="14167" y="20914"/>
                  <a:pt x="14235" y="20886"/>
                  <a:pt x="14265" y="20886"/>
                </a:cubicBezTo>
                <a:cubicBezTo>
                  <a:pt x="14317" y="20886"/>
                  <a:pt x="14351" y="20848"/>
                  <a:pt x="14351" y="20789"/>
                </a:cubicBezTo>
                <a:cubicBezTo>
                  <a:pt x="14352" y="20707"/>
                  <a:pt x="14382" y="20690"/>
                  <a:pt x="14526" y="20688"/>
                </a:cubicBezTo>
                <a:cubicBezTo>
                  <a:pt x="14648" y="20687"/>
                  <a:pt x="14728" y="20655"/>
                  <a:pt x="14795" y="20581"/>
                </a:cubicBezTo>
                <a:cubicBezTo>
                  <a:pt x="14905" y="20461"/>
                  <a:pt x="15143" y="20405"/>
                  <a:pt x="15299" y="20463"/>
                </a:cubicBezTo>
                <a:cubicBezTo>
                  <a:pt x="15357" y="20485"/>
                  <a:pt x="15439" y="20555"/>
                  <a:pt x="15478" y="20621"/>
                </a:cubicBezTo>
                <a:cubicBezTo>
                  <a:pt x="15516" y="20685"/>
                  <a:pt x="15585" y="20747"/>
                  <a:pt x="15635" y="20762"/>
                </a:cubicBezTo>
                <a:cubicBezTo>
                  <a:pt x="15677" y="20755"/>
                  <a:pt x="15734" y="20739"/>
                  <a:pt x="15754" y="20741"/>
                </a:cubicBezTo>
                <a:cubicBezTo>
                  <a:pt x="15938" y="20762"/>
                  <a:pt x="16953" y="20613"/>
                  <a:pt x="17014" y="20556"/>
                </a:cubicBezTo>
                <a:cubicBezTo>
                  <a:pt x="17058" y="20514"/>
                  <a:pt x="17091" y="20508"/>
                  <a:pt x="17118" y="20538"/>
                </a:cubicBezTo>
                <a:cubicBezTo>
                  <a:pt x="17140" y="20563"/>
                  <a:pt x="17190" y="20575"/>
                  <a:pt x="17228" y="20566"/>
                </a:cubicBezTo>
                <a:cubicBezTo>
                  <a:pt x="17267" y="20556"/>
                  <a:pt x="17416" y="20538"/>
                  <a:pt x="17559" y="20524"/>
                </a:cubicBezTo>
                <a:cubicBezTo>
                  <a:pt x="17996" y="20484"/>
                  <a:pt x="18152" y="20467"/>
                  <a:pt x="18512" y="20421"/>
                </a:cubicBezTo>
                <a:cubicBezTo>
                  <a:pt x="18889" y="20372"/>
                  <a:pt x="18902" y="20370"/>
                  <a:pt x="19494" y="20304"/>
                </a:cubicBezTo>
                <a:cubicBezTo>
                  <a:pt x="19716" y="20279"/>
                  <a:pt x="19963" y="20237"/>
                  <a:pt x="20042" y="20210"/>
                </a:cubicBezTo>
                <a:cubicBezTo>
                  <a:pt x="20226" y="20148"/>
                  <a:pt x="20647" y="20162"/>
                  <a:pt x="20806" y="20229"/>
                </a:cubicBezTo>
                <a:cubicBezTo>
                  <a:pt x="20826" y="20221"/>
                  <a:pt x="20859" y="20214"/>
                  <a:pt x="20867" y="20204"/>
                </a:cubicBezTo>
                <a:cubicBezTo>
                  <a:pt x="20894" y="20171"/>
                  <a:pt x="20940" y="20154"/>
                  <a:pt x="20970" y="20166"/>
                </a:cubicBezTo>
                <a:cubicBezTo>
                  <a:pt x="20974" y="20168"/>
                  <a:pt x="20976" y="20167"/>
                  <a:pt x="20979" y="20168"/>
                </a:cubicBezTo>
                <a:cubicBezTo>
                  <a:pt x="20991" y="20072"/>
                  <a:pt x="21005" y="19873"/>
                  <a:pt x="21013" y="19514"/>
                </a:cubicBezTo>
                <a:cubicBezTo>
                  <a:pt x="21044" y="18189"/>
                  <a:pt x="21060" y="17723"/>
                  <a:pt x="21071" y="17686"/>
                </a:cubicBezTo>
                <a:cubicBezTo>
                  <a:pt x="21075" y="17674"/>
                  <a:pt x="21095" y="17676"/>
                  <a:pt x="21122" y="17683"/>
                </a:cubicBezTo>
                <a:cubicBezTo>
                  <a:pt x="21116" y="17566"/>
                  <a:pt x="21109" y="17436"/>
                  <a:pt x="21113" y="17160"/>
                </a:cubicBezTo>
                <a:cubicBezTo>
                  <a:pt x="21117" y="16875"/>
                  <a:pt x="21124" y="16695"/>
                  <a:pt x="21136" y="16567"/>
                </a:cubicBezTo>
                <a:cubicBezTo>
                  <a:pt x="21123" y="16317"/>
                  <a:pt x="21117" y="16024"/>
                  <a:pt x="21122" y="15810"/>
                </a:cubicBezTo>
                <a:cubicBezTo>
                  <a:pt x="21106" y="15676"/>
                  <a:pt x="21111" y="15587"/>
                  <a:pt x="21145" y="15555"/>
                </a:cubicBezTo>
                <a:cubicBezTo>
                  <a:pt x="21146" y="15555"/>
                  <a:pt x="21146" y="15551"/>
                  <a:pt x="21147" y="15551"/>
                </a:cubicBezTo>
                <a:cubicBezTo>
                  <a:pt x="21224" y="15508"/>
                  <a:pt x="21210" y="14880"/>
                  <a:pt x="21129" y="14824"/>
                </a:cubicBezTo>
                <a:cubicBezTo>
                  <a:pt x="21091" y="14797"/>
                  <a:pt x="21081" y="14776"/>
                  <a:pt x="21107" y="14776"/>
                </a:cubicBezTo>
                <a:cubicBezTo>
                  <a:pt x="21133" y="14776"/>
                  <a:pt x="21123" y="14750"/>
                  <a:pt x="21086" y="14718"/>
                </a:cubicBezTo>
                <a:cubicBezTo>
                  <a:pt x="21031" y="14673"/>
                  <a:pt x="21039" y="14653"/>
                  <a:pt x="21125" y="14621"/>
                </a:cubicBezTo>
                <a:cubicBezTo>
                  <a:pt x="21219" y="14586"/>
                  <a:pt x="21282" y="14493"/>
                  <a:pt x="21320" y="14362"/>
                </a:cubicBezTo>
                <a:cubicBezTo>
                  <a:pt x="21309" y="14302"/>
                  <a:pt x="21302" y="14230"/>
                  <a:pt x="21288" y="14208"/>
                </a:cubicBezTo>
                <a:cubicBezTo>
                  <a:pt x="21247" y="14142"/>
                  <a:pt x="21263" y="13490"/>
                  <a:pt x="21347" y="11802"/>
                </a:cubicBezTo>
                <a:cubicBezTo>
                  <a:pt x="21380" y="11153"/>
                  <a:pt x="21373" y="10959"/>
                  <a:pt x="21315" y="10911"/>
                </a:cubicBezTo>
                <a:cubicBezTo>
                  <a:pt x="21264" y="10869"/>
                  <a:pt x="21259" y="10834"/>
                  <a:pt x="21299" y="10799"/>
                </a:cubicBezTo>
                <a:cubicBezTo>
                  <a:pt x="21331" y="10771"/>
                  <a:pt x="21374" y="10290"/>
                  <a:pt x="21398" y="9688"/>
                </a:cubicBezTo>
                <a:cubicBezTo>
                  <a:pt x="21421" y="9104"/>
                  <a:pt x="21465" y="8594"/>
                  <a:pt x="21494" y="8557"/>
                </a:cubicBezTo>
                <a:cubicBezTo>
                  <a:pt x="21522" y="8519"/>
                  <a:pt x="21557" y="8195"/>
                  <a:pt x="21571" y="7836"/>
                </a:cubicBezTo>
                <a:cubicBezTo>
                  <a:pt x="21578" y="7656"/>
                  <a:pt x="21590" y="7443"/>
                  <a:pt x="21600" y="7220"/>
                </a:cubicBezTo>
                <a:lnTo>
                  <a:pt x="21600" y="600"/>
                </a:lnTo>
                <a:cubicBezTo>
                  <a:pt x="21593" y="598"/>
                  <a:pt x="21584" y="592"/>
                  <a:pt x="21578" y="592"/>
                </a:cubicBezTo>
                <a:cubicBezTo>
                  <a:pt x="21535" y="592"/>
                  <a:pt x="21469" y="566"/>
                  <a:pt x="21430" y="533"/>
                </a:cubicBezTo>
                <a:cubicBezTo>
                  <a:pt x="21392" y="501"/>
                  <a:pt x="21317" y="478"/>
                  <a:pt x="21264" y="482"/>
                </a:cubicBezTo>
                <a:cubicBezTo>
                  <a:pt x="21166" y="490"/>
                  <a:pt x="20873" y="452"/>
                  <a:pt x="19943" y="307"/>
                </a:cubicBezTo>
                <a:cubicBezTo>
                  <a:pt x="19567" y="248"/>
                  <a:pt x="19304" y="230"/>
                  <a:pt x="19050" y="245"/>
                </a:cubicBezTo>
                <a:cubicBezTo>
                  <a:pt x="18830" y="259"/>
                  <a:pt x="18660" y="252"/>
                  <a:pt x="18615" y="225"/>
                </a:cubicBezTo>
                <a:cubicBezTo>
                  <a:pt x="18561" y="194"/>
                  <a:pt x="18516" y="196"/>
                  <a:pt x="18454" y="232"/>
                </a:cubicBezTo>
                <a:cubicBezTo>
                  <a:pt x="18384" y="272"/>
                  <a:pt x="18319" y="265"/>
                  <a:pt x="18109" y="197"/>
                </a:cubicBezTo>
                <a:cubicBezTo>
                  <a:pt x="17966" y="150"/>
                  <a:pt x="17786" y="111"/>
                  <a:pt x="17710" y="111"/>
                </a:cubicBezTo>
                <a:cubicBezTo>
                  <a:pt x="17634" y="111"/>
                  <a:pt x="17540" y="84"/>
                  <a:pt x="17501" y="51"/>
                </a:cubicBezTo>
                <a:cubicBezTo>
                  <a:pt x="17466" y="23"/>
                  <a:pt x="16535" y="8"/>
                  <a:pt x="14164" y="0"/>
                </a:cubicBezTo>
                <a:close/>
                <a:moveTo>
                  <a:pt x="5761" y="125"/>
                </a:moveTo>
                <a:cubicBezTo>
                  <a:pt x="5722" y="136"/>
                  <a:pt x="5754" y="145"/>
                  <a:pt x="5834" y="145"/>
                </a:cubicBezTo>
                <a:cubicBezTo>
                  <a:pt x="5913" y="145"/>
                  <a:pt x="5946" y="136"/>
                  <a:pt x="5906" y="125"/>
                </a:cubicBezTo>
                <a:cubicBezTo>
                  <a:pt x="5866" y="114"/>
                  <a:pt x="5801" y="114"/>
                  <a:pt x="5761" y="125"/>
                </a:cubicBez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492885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97811" y="6070907"/>
            <a:ext cx="8640537" cy="2270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297811" y="5807955"/>
            <a:ext cx="8640537" cy="22708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ijuana has become significantly more potent since the 1960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ource: </a:t>
            </a:r>
            <a:r>
              <a:rPr lang="en-US" dirty="0" err="1"/>
              <a:t>Mehmedic</a:t>
            </a:r>
            <a:r>
              <a:rPr lang="en-US" dirty="0"/>
              <a:t> et al., 2010</a:t>
            </a:r>
          </a:p>
        </p:txBody>
      </p:sp>
      <p:pic>
        <p:nvPicPr>
          <p:cNvPr id="25" name="Picture 2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3" y="1348753"/>
            <a:ext cx="8595446" cy="4949239"/>
          </a:xfrm>
          <a:prstGeom prst="rect">
            <a:avLst/>
          </a:prstGeom>
        </p:spPr>
      </p:pic>
      <p:sp>
        <p:nvSpPr>
          <p:cNvPr id="23" name="AutoShape 4"/>
          <p:cNvSpPr>
            <a:spLocks noChangeArrowheads="1"/>
          </p:cNvSpPr>
          <p:nvPr/>
        </p:nvSpPr>
        <p:spPr bwMode="auto">
          <a:xfrm>
            <a:off x="6508867" y="3533103"/>
            <a:ext cx="2117660" cy="969806"/>
          </a:xfrm>
          <a:prstGeom prst="wedgeRectCallout">
            <a:avLst>
              <a:gd name="adj1" fmla="val -49527"/>
              <a:gd name="adj2" fmla="val 117326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accent3"/>
                </a:solidFill>
                <a:latin typeface="Georgia"/>
                <a:cs typeface="Georgia"/>
              </a:rPr>
              <a:t>CBD:</a:t>
            </a:r>
            <a:br>
              <a:rPr lang="en-US" sz="1600" b="1" dirty="0">
                <a:solidFill>
                  <a:schemeClr val="accent3"/>
                </a:solidFill>
                <a:latin typeface="Georgia"/>
                <a:cs typeface="Georgia"/>
              </a:rPr>
            </a:br>
            <a:r>
              <a:rPr lang="en-US" sz="1600" b="1" dirty="0">
                <a:solidFill>
                  <a:schemeClr val="accent3"/>
                </a:solidFill>
                <a:latin typeface="Georgia"/>
                <a:cs typeface="Georgia"/>
              </a:rPr>
              <a:t>NON-Psychoactive Ingredient</a:t>
            </a:r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auto">
          <a:xfrm>
            <a:off x="1811290" y="2508073"/>
            <a:ext cx="1801892" cy="1059320"/>
          </a:xfrm>
          <a:prstGeom prst="wedgeRectCallout">
            <a:avLst>
              <a:gd name="adj1" fmla="val 42259"/>
              <a:gd name="adj2" fmla="val 123226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>
                <a:solidFill>
                  <a:schemeClr val="tx2"/>
                </a:solidFill>
                <a:latin typeface="Georgia"/>
                <a:cs typeface="Georgia"/>
              </a:rPr>
              <a:t>THC:</a:t>
            </a: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Georgia"/>
                <a:cs typeface="Georgia"/>
              </a:rPr>
              <a:t>Psychoactive Ingredient</a:t>
            </a:r>
          </a:p>
        </p:txBody>
      </p:sp>
    </p:spTree>
    <p:extLst>
      <p:ext uri="{BB962C8B-B14F-4D97-AF65-F5344CB8AC3E}">
        <p14:creationId xmlns:p14="http://schemas.microsoft.com/office/powerpoint/2010/main" val="4608025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ijuana is not “just a plant” anymore – derivatives contain up to 98% TH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104" y="1137557"/>
            <a:ext cx="8791344" cy="5185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097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ndustry Toda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dirty="0"/>
              <a:t>Source:  Marijuana Business Journal; other media.  Icons: Marianna </a:t>
            </a:r>
            <a:r>
              <a:rPr lang="en-US" dirty="0" err="1"/>
              <a:t>Nardella</a:t>
            </a:r>
            <a:r>
              <a:rPr lang="en-US" dirty="0"/>
              <a:t>; Anton </a:t>
            </a:r>
            <a:r>
              <a:rPr lang="en-US" dirty="0" err="1"/>
              <a:t>Gajosik</a:t>
            </a:r>
            <a:r>
              <a:rPr lang="en-US" dirty="0"/>
              <a:t>; Petra </a:t>
            </a:r>
            <a:r>
              <a:rPr lang="en-US" dirty="0" err="1"/>
              <a:t>Prgomet</a:t>
            </a:r>
            <a:r>
              <a:rPr lang="en-US" dirty="0"/>
              <a:t>; Joey </a:t>
            </a:r>
            <a:r>
              <a:rPr lang="en-US" dirty="0" err="1"/>
              <a:t>Golaw</a:t>
            </a:r>
            <a:r>
              <a:rPr lang="en-US" dirty="0"/>
              <a:t>; Creative Stall; Luis Prado; Aha-Soft    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2819" y="1321828"/>
            <a:ext cx="4951982" cy="4895905"/>
          </a:xfrm>
          <a:prstGeom prst="rect">
            <a:avLst/>
          </a:prstGeom>
        </p:spPr>
      </p:pic>
      <p:sp>
        <p:nvSpPr>
          <p:cNvPr id="32" name="Right Arrow 31"/>
          <p:cNvSpPr/>
          <p:nvPr/>
        </p:nvSpPr>
        <p:spPr>
          <a:xfrm>
            <a:off x="3721101" y="3092608"/>
            <a:ext cx="500914" cy="1193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495" y="4782413"/>
            <a:ext cx="1697446" cy="1590821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4" name="Picture 2" descr="http://ts3.mm.bing.net/th?id=HN.608036063550178063&amp;w=261&amp;h=173&amp;c=7&amp;rs=1&amp;pid=1.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761" y="2961395"/>
            <a:ext cx="1806142" cy="1272180"/>
          </a:xfrm>
          <a:prstGeom prst="rect">
            <a:avLst/>
          </a:prstGeom>
          <a:noFill/>
          <a:ln w="19050">
            <a:solidFill>
              <a:schemeClr val="tx2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330" y="1321826"/>
            <a:ext cx="2519666" cy="1844700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6680" y="3813413"/>
            <a:ext cx="1804164" cy="2411531"/>
          </a:xfrm>
          <a:prstGeom prst="rect">
            <a:avLst/>
          </a:prstGeom>
          <a:ln w="1905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0594706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7480" y="819369"/>
            <a:ext cx="6027624" cy="5393172"/>
          </a:xfrm>
          <a:prstGeom prst="rect">
            <a:avLst/>
          </a:prstGeom>
        </p:spPr>
      </p:pic>
      <p:pic>
        <p:nvPicPr>
          <p:cNvPr id="7" name="Picture Placeholder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9452" y="1392817"/>
            <a:ext cx="3023426" cy="394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9906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Content Placeholder 61"/>
          <p:cNvSpPr>
            <a:spLocks noGrp="1"/>
          </p:cNvSpPr>
          <p:nvPr>
            <p:ph idx="4294967295"/>
          </p:nvPr>
        </p:nvSpPr>
        <p:spPr>
          <a:xfrm>
            <a:off x="461329" y="6618213"/>
            <a:ext cx="7138988" cy="239712"/>
          </a:xfrm>
        </p:spPr>
        <p:txBody>
          <a:bodyPr>
            <a:normAutofit/>
          </a:bodyPr>
          <a:lstStyle/>
          <a:p>
            <a:r>
              <a:rPr lang="en-US" dirty="0"/>
              <a:t>Source:  Cook, P. J. (2007). Paying the tab: The economics of alcohol policy. Princeton, NJ: Princeton University Pres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50068" y="39997"/>
            <a:ext cx="80438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latin typeface="Helvetica Neue" charset="0"/>
                <a:ea typeface="Helvetica Neue" charset="0"/>
                <a:cs typeface="Helvetica Neue" charset="0"/>
              </a:rPr>
              <a:t>The top 10% of the population make up 75% of the alcohol industry’s U.S. sales</a:t>
            </a:r>
          </a:p>
        </p:txBody>
      </p:sp>
      <p:sp>
        <p:nvSpPr>
          <p:cNvPr id="59" name="Rounded Rectangular Callout 58"/>
          <p:cNvSpPr/>
          <p:nvPr/>
        </p:nvSpPr>
        <p:spPr>
          <a:xfrm>
            <a:off x="4769224" y="1837507"/>
            <a:ext cx="1970517" cy="798117"/>
          </a:xfrm>
          <a:prstGeom prst="wedgeRoundRectCallout">
            <a:avLst>
              <a:gd name="adj1" fmla="val 69877"/>
              <a:gd name="adj2" fmla="val 104688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b="1" dirty="0">
                <a:solidFill>
                  <a:schemeClr val="tx1"/>
                </a:solidFill>
              </a:rPr>
              <a:t>Avg. 10 drinks a day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068" y="1113432"/>
            <a:ext cx="7450932" cy="550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8299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98E070B-7DC1-3545-AE4F-7D7DB609AAA6}"/>
              </a:ext>
            </a:extLst>
          </p:cNvPr>
          <p:cNvSpPr txBox="1"/>
          <p:nvPr/>
        </p:nvSpPr>
        <p:spPr>
          <a:xfrm>
            <a:off x="1897380" y="1187893"/>
            <a:ext cx="55092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at have we learned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1CB682-E901-A44D-B0BA-76F2A54D766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4580" y="2593040"/>
            <a:ext cx="3394840" cy="2263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5730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40" y="401444"/>
            <a:ext cx="5698206" cy="358274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7992" y="1696844"/>
            <a:ext cx="4162193" cy="277479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825" y="3294608"/>
            <a:ext cx="5533483" cy="311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3385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11">
            <a:extLst>
              <a:ext uri="{FF2B5EF4-FFF2-40B4-BE49-F238E27FC236}">
                <a16:creationId xmlns:a16="http://schemas.microsoft.com/office/drawing/2014/main" id="{C0BC5C4E-B3D5-4AF5-93F1-263AD8A056DB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7" t="45027" r="12642"/>
          <a:stretch/>
        </p:blipFill>
        <p:spPr>
          <a:xfrm>
            <a:off x="285750" y="1673596"/>
            <a:ext cx="8538210" cy="440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115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C142876-382D-2E49-94B5-6DE116CB5C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008"/>
          <a:stretch/>
        </p:blipFill>
        <p:spPr>
          <a:xfrm>
            <a:off x="800372" y="1989617"/>
            <a:ext cx="3443223" cy="26076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DED78B-ACAE-1447-9FE2-98C0C3391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070" y="2493334"/>
            <a:ext cx="28575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4732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of Legaliz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57585" y="1524000"/>
            <a:ext cx="8372758" cy="5257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2800" b="1" dirty="0"/>
              <a:t>Commercialization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 now #1 first-time youth use rate in the country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ampant advertising/commercialization</a:t>
            </a:r>
          </a:p>
          <a:p>
            <a:pPr lvl="1">
              <a:spcAft>
                <a:spcPts val="600"/>
              </a:spcAft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 thriving underground market – white, grey, and black.</a:t>
            </a:r>
            <a:endParaRPr lang="en-US" sz="1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spcAft>
                <a:spcPts val="600"/>
              </a:spcAft>
            </a:pPr>
            <a:endParaRPr lang="en-US" sz="2800" b="1" dirty="0"/>
          </a:p>
          <a:p>
            <a:pPr>
              <a:spcAft>
                <a:spcPts val="600"/>
              </a:spcAft>
            </a:pPr>
            <a:r>
              <a:rPr lang="en-US" sz="2800" b="1" dirty="0"/>
              <a:t>Promotion of Special Interests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THC caps have failed (State of CO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Limit on # and location of stores have failed (Denver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Money diverted to general fund (</a:t>
            </a:r>
            <a:r>
              <a:rPr lang="en-US" sz="2000" dirty="0" err="1"/>
              <a:t>eg</a:t>
            </a:r>
            <a:r>
              <a:rPr lang="en-US" sz="2000" dirty="0"/>
              <a:t> WA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70579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14">
            <a:extLst>
              <a:ext uri="{FF2B5EF4-FFF2-40B4-BE49-F238E27FC236}">
                <a16:creationId xmlns:a16="http://schemas.microsoft.com/office/drawing/2014/main" id="{0AEA38BC-A97B-4995-993C-1164F5A855EE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" r="669" b="5000"/>
          <a:stretch/>
        </p:blipFill>
        <p:spPr>
          <a:xfrm>
            <a:off x="251460" y="68580"/>
            <a:ext cx="8663940" cy="651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308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15">
            <a:extLst>
              <a:ext uri="{FF2B5EF4-FFF2-40B4-BE49-F238E27FC236}">
                <a16:creationId xmlns:a16="http://schemas.microsoft.com/office/drawing/2014/main" id="{93F3ADEF-BAF9-4559-AB02-06ACAD045C47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06" t="51366" r="10694"/>
          <a:stretch/>
        </p:blipFill>
        <p:spPr>
          <a:xfrm>
            <a:off x="86356" y="1249242"/>
            <a:ext cx="8943344" cy="4180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454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ide35">
            <a:extLst>
              <a:ext uri="{FF2B5EF4-FFF2-40B4-BE49-F238E27FC236}">
                <a16:creationId xmlns:a16="http://schemas.microsoft.com/office/drawing/2014/main" id="{F24E182C-B033-A547-8029-3920B4DDAF30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" y="239280"/>
            <a:ext cx="7900354" cy="610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7164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22">
            <a:extLst>
              <a:ext uri="{FF2B5EF4-FFF2-40B4-BE49-F238E27FC236}">
                <a16:creationId xmlns:a16="http://schemas.microsoft.com/office/drawing/2014/main" id="{80B2D764-58D6-4E78-BC34-8A02FA8AAD1C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1" y="0"/>
            <a:ext cx="88757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4927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26">
            <a:extLst>
              <a:ext uri="{FF2B5EF4-FFF2-40B4-BE49-F238E27FC236}">
                <a16:creationId xmlns:a16="http://schemas.microsoft.com/office/drawing/2014/main" id="{70B7BA69-2FB5-4B96-8DBE-536A792CBCF1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1" y="0"/>
            <a:ext cx="88757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902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lide28">
            <a:extLst>
              <a:ext uri="{FF2B5EF4-FFF2-40B4-BE49-F238E27FC236}">
                <a16:creationId xmlns:a16="http://schemas.microsoft.com/office/drawing/2014/main" id="{438BE13B-2D5C-4BB1-B701-9D2E5E1F8259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1" y="0"/>
            <a:ext cx="887571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710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6-11-21 at 9.13.39 PM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03948" cy="6588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4759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e you better off?</a:t>
            </a:r>
            <a:endParaRPr lang="en-US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80BE0EA0-6B6D-1448-BAFF-3D9C65762E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602" y="1537310"/>
            <a:ext cx="6729358" cy="378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940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happening today: Share Your Truth</a:t>
            </a:r>
            <a:endParaRPr lang="en-US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3939A6C2-DA63-954B-9C60-A8C359B6B3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859" y="1271955"/>
            <a:ext cx="6101010" cy="511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490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5AC0B28-5B8D-4F45-9E11-5D6BB4856F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113" y="857250"/>
            <a:ext cx="7763774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8160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 and Pregnancy Do Not Mix</a:t>
            </a:r>
            <a:endParaRPr lang="en-US" dirty="0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30D29D0F-607D-EE4B-8E16-D0483D9BA1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988" y="1203014"/>
            <a:ext cx="3898797" cy="5198397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72090B6E-57B0-744E-B2B5-3A99E293C7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34" y="2359820"/>
            <a:ext cx="3048000" cy="4064000"/>
          </a:xfrm>
          <a:prstGeom prst="rect">
            <a:avLst/>
          </a:prstGeom>
        </p:spPr>
      </p:pic>
      <p:pic>
        <p:nvPicPr>
          <p:cNvPr id="12" name="Picture 12">
            <a:extLst>
              <a:ext uri="{FF2B5EF4-FFF2-40B4-BE49-F238E27FC236}">
                <a16:creationId xmlns:a16="http://schemas.microsoft.com/office/drawing/2014/main" id="{D2FD5C55-6E4F-F646-9D6B-EA0E0A541F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132" y="3462795"/>
            <a:ext cx="2220770" cy="2961025"/>
          </a:xfrm>
          <a:prstGeom prst="rect">
            <a:avLst/>
          </a:prstGeom>
        </p:spPr>
      </p:pic>
      <p:pic>
        <p:nvPicPr>
          <p:cNvPr id="14" name="Picture 14">
            <a:extLst>
              <a:ext uri="{FF2B5EF4-FFF2-40B4-BE49-F238E27FC236}">
                <a16:creationId xmlns:a16="http://schemas.microsoft.com/office/drawing/2014/main" id="{1744AC9F-46F7-574D-8BEA-E532CE8D52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6634" y="1194323"/>
            <a:ext cx="1701354" cy="2268472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C49208C8-CF60-4448-B5E1-3B8BCD0461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34" y="1203014"/>
            <a:ext cx="3287417" cy="1851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4227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happening today: Governor Veto</a:t>
            </a:r>
            <a:endParaRPr lang="en-US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1D6A6FCA-FF08-0C4A-913A-5F64D8C2E1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924" y="1343617"/>
            <a:ext cx="6066692" cy="4842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89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Join the Action Network</a:t>
            </a:r>
            <a:endParaRPr lang="en-US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E05A95BC-8B8A-964E-9B31-1BF0C207EE8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82" y="1292836"/>
            <a:ext cx="8144235" cy="5102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8609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lide01">
            <a:extLst>
              <a:ext uri="{FF2B5EF4-FFF2-40B4-BE49-F238E27FC236}">
                <a16:creationId xmlns:a16="http://schemas.microsoft.com/office/drawing/2014/main" id="{865E6105-1540-A348-A131-6F7F5BB979CE}"/>
              </a:ext>
            </a:extLst>
          </p:cNvPr>
          <p:cNvPicPr>
            <a:picLocks noGrp="1" noChangeAspect="1"/>
          </p:cNvPicPr>
          <p:nvPr isPhoto="1"/>
        </p:nvPicPr>
        <p:blipFill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48366"/>
            <a:ext cx="8003224" cy="6183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2227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49358" y="4266716"/>
            <a:ext cx="618663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tact us</a:t>
            </a:r>
          </a:p>
          <a:p>
            <a:pPr algn="ctr"/>
            <a:r>
              <a:rPr lang="en-US" sz="3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2"/>
              </a:rPr>
              <a:t>www.learnaboutsam</a:t>
            </a:r>
            <a:r>
              <a:rPr lang="en-US" sz="300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2"/>
              </a:rPr>
              <a:t>.org</a:t>
            </a:r>
            <a:endParaRPr lang="en-US" sz="30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300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hlinkClick r:id="rId3"/>
              </a:rPr>
              <a:t>http://marijuanaaccountability.co</a:t>
            </a:r>
            <a:endParaRPr lang="en-US" sz="3000" b="1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300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lr@marijuanaaccountability.co</a:t>
            </a:r>
            <a:endParaRPr lang="en-US" sz="3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BB677518-3C46-DB4B-83C0-75276E50EE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142" y="0"/>
            <a:ext cx="2267857" cy="120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789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726514-0184-9546-A70E-F4F454137C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6018" y="857250"/>
            <a:ext cx="429196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1131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BB31876-2FEE-5744-AFC1-3810FAC9F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0750" y="1652588"/>
            <a:ext cx="4762500" cy="355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036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D0EDCE-45F6-9C4A-ADA7-3258ED43B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3250" y="2000250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3359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FFB4579-1F03-DD4F-A8FD-6E969349FF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3754" y="2143923"/>
            <a:ext cx="2981635" cy="298163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A1B6671-E14A-194C-8F05-C1D36B2A17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3480" y="2400300"/>
            <a:ext cx="2468880" cy="246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5192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5796FD-BC20-3045-94B8-7A6F2D77CE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2325" y="2219325"/>
            <a:ext cx="2419350" cy="241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142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Nrr+O10cQCGo+PFPzu8gTc3Vn7x6LuziNpQfEmA1t95EW4jgobtreutqi7ccdPi341Qo5lwUPOamr3+BmnhGo7lDfNB/wzW734ruBs2oH7N+8sgG/o9rzGCYxuRWBkFlFd8yohixOoLjHZFkvRJWxgSsux1MaFUPZP9/u/clYr+xCEnFNjnbTAaWzUa+WueR5OZUmrhiOHS9UKMHqyBqgtU7AF2uxilRo67VAsLB87awAMRQp18EgtHVeVipe7/vbKYd/DyBI9MjR/o3gI3VWU1TK1P+G99dx2cNPonMmBgfQYv/4RwycNVoTm6XV3DM+/lnUK3omSCeqMnpuoC4t8XrA4wis5uj4lIZrW9cLHxeLDYMxzcbriU9M5W8PWYDgyX/G2h6VR2pEUBtVRScN7RVQUrZApwBxzLFiT5PSBFvHoUyWihHoKOlycncyKHSGjyWA9pw+IlFOp97GfJ0snWTUDJP0J4G5xVk9yGV/NRqWYy6ykAbGah+PthttK2D48+fm/0c85ADVJsTZAAuaHwY/Ml5X64qAg4KVoRoWFClmyWr9yEprzwL1e+xlY41WgOX/1C8ys2eBH4mw4Fmo9yONcqeY+n+MfT339ZVLWrxtAkmvAuGMCuuezs6UWxxa6WGsYj9j2i/EwMP71NUBtopDsTeaQkItbGreS89Dvrtu4Hm++uTx7/UOD1NRVpBIz4F8O1E4+3ODbAcafKsHMTN9MY7JDW8yBbTRCilwC2pMV0kD3ecZtg31oGb6y0qB/Z1XS4gythdn2LOvB6y1RX58pE/pQmqVV18c5diJbjoZIhX6kGDLLK+nqTA6Cb8Aa/EwAQrwgDG/l+xNV6gqOf3839i8Cer4EAVZ17TkpuyzVPo5K93Tf2R2EwZaTZkDIUOVa71jszWA51AbSjrr3MBECxdluh9w9vHf84B7wzEVPkL86M+kKchEhLtABaZ9TIQexSS1sgko+T8h98/coxRboTekjgj0AvVGNUBQZObMxxc77nJK1lI7Fh/2ZYzEd0gaGJqSc6hwOaL6mfNNl1mFTOADzb7aEp9d5Ydiibc8QmFBa2IMM685jyWscEVr0JduuOy4+m6OT6v/YphXTTHz2CWVz35LwNElDGr2bbnd20SKDSnoHnA0wsPHtYnjcKvPpg7b8gWIQXBejK+n1+Wq3D0kfFFqqQ+hBjP+eQYzA5M3TTIU1S+johhXNyJFD+LTFUEZ1MXIELE58DnsDTFEQzwqtHw8TJtg+MrB0/q50XYLG9KYKrR2uG459MsDj+M1O1wUjXabx2B0IRnWVlMfGU2umgn2MMGnFws/kbAK4GCN+jeuf63MHgg16vO2bvKAdFG33KmGUhh1dmhGfRo+wycRv1wwQlGUDRWXbEWeo4I+t/yjoMoF3WM/W2kLSOdW6ibIzWiqNkZXzQkZSQ3C9zH5cdE5R1iiNsAIDnnNomxyFrFBwAmnWSczfCrHwuUepoH8ygPYfz4YWWAcjQmfE69JcpzABLp3ZrOTneOnqaVyzp+S7YrfQXdr4tNDbIT5zk/KRfcgZPmLy4Ng46wjaOVfpf1KhekQDL+Sd9T0UBMTuECW8eUI1kVuz6UfWSzzjKOn2dnQFRnc0y2zsb+pPJaXRUTlEYJV7ZqWDJEafZohrcmCLyIKmZso52fcmFQAKRK18GCq+o4Z3YEcLq9PsrtgWwnX1k0iAmnHuxdNR8QhPdOKCCE1ZuMwr/WCMmYVOnSyy6SLgjHvgJsm+ZDB+PUip24w1MXtgd6NRViGsf/U2+SweWmR1IIv6oV5/lbAgvaewLT8cAbcjoKgpx91NKKUut5kMseZaj+wLrlEuXu7kKjOI4JuToh9ArJJ5ga1OAlR1EAj5EqeNnpAsZPL2eB7f8t1Z0PG06BXhab3seCHzJEiGwRtayB85wM2MKdy8oZNwbhCnxXsgR6Td9NPp8rmmQwXaFbBacSDQlNWeb5OdH95cUND4zRbDerJ1oO1u11HWDOjdl4DP61xb6LgwAEk0n8HPPMBR2x2ISphdXe3cfRfVK1nF+aP/lLHF2QkPYhNHxIsVouvlQ1V+7A1EBKVGKsbvR55MITlfINPNk+Y/rp75TZuVxofBjRlnI650nAHpezHzVfdEmjiC2SMU/3/I1UvuBqIGd9LWnS6GUaOgEg+X68SUPX5/5RAyl9inQi9eK0Utkwwz+/t2aC1wdczfFRYcWywIeaZuhabodj3Zdn3kh4Oaxcria2Ytc5+h9bajx5w8I7rfXq7BK7FF8N97BUdlsbOd0TK6gqYwZbz02cc0RsjgmD5gs1MYxcdFqBxz+louPaaff+0dUr9+wjP19zpyxt7wDj6+JG9IdSCv1khv0i4ayoyNBtIB5Btq6SS9ZtZptJes/1GBJcpYmyRSsABLw8tbFlf3YYMRAPIM0zse+ZHBNV4YCNllqRuFiq4oNWTGMxOSUI+QFAN4W3byT5Oa84jj/OC2Zqv7kXPKeB9wz8Bbo7pBMJO22VaqDf4d9zzLjyUNexqvSbYc+1OTJRyxCgrY1UBbJfsQQjjCFP0wdgCk+X7STo8Lx2HBAnojn509W7JnI+t7Gg3UOIrHy4NqGTc1vNDxua0tekr7BCplcP+Y3KlUIaQHdSBzgLS8Ixzo69cRItt92E1xvC9oK9bgwjYJCbyaZ35exGN/kU66e4NcqkI+XUWc4Pq8zoD5zldlZTfSh3umhLjAWwBsMDXJ22aUA+4QPVOiqYrUXDhbMeyx1ZiNvh17xisSQG03p+PFGRIhSccTvdxLRnwjcRe1hi8V9dDZSQxxOdhYuGnpEjbAWftpVXDPRiCU8/3pg51I5vS4ecJZNGhcIXKJUZSmrpJ/5KgnqUdmZJ5HjwFV2dk5DmjQR8bzBs0dzu1rilzGSKauINtj10hDMr0rwIwke23zL4ix3yX5O5il5EaijUNjRqbRE3GSg9bLNBs2sm0UMu018nBPiIEn1q2lghfcwiZut6e2c+jo8hbuNdMbz7nC5V8sLsXxDmLWLOm7MBLevrbyxxBzBFQJxUxpKI5kDpACMT8nj3HTFH3uqoOcYj0WTd0i8Yo926BFpbSaxZvsf0Lk8lyfyWNHRy87dZZy3LEiDAfqC804xHMmSsYouYkZl00DO4Horu1THUjMFmNp5NzRktzBjKPD3YmcEk43e3knMUgxMPalnd6EHeyRofJd67REVxZJ1YJdStgrDTy2JYvGmomZGOdFMJK+3LQ47zcGo0tybCB3CKQZACZU72ViauajGmJum3+4Q4BygQWgmKMjr96MUe71AGRCl0dNrrMJkI2tLzznPXneHs0gmJmDXDOxBqvwtpo2hLYmovZxr4jD4LT39aZcmdL3aPpe3/U5Ye3j4jdsLrnZldlcelHTUz3swBS2APFLmNoIE0onDCp0jl+//D1wg0/T0M0nHHHj/s8psz93++m3FMl60GfcA3i/pfT/pH/01ypnYnS6qWsdwwZ87HelNfs4HgYiwIAEmQi6J71MlkcXCi18WBJWWAEk3WGiiHUWeHuLSTma5YrwGwE3uYlUUpLyjQb7xilfuB364lNt9Q24cUrNslNOhuJO2BOMmCYKESV6GxRaL8q3gPu8p8/Ntt+QLzrs0BvP4gP+c8NhSCetbYVNMrNJNlQsKIkRk3UijSVaQUYJ+CN9cn02EJ8ofwbBsbgzH5gA0KsvfXqWPxkUqE9uIvsFqlWopHsihdZC3DNZhk3oTp6Q0pqTaapNCd1dsPrJ6oKCwVDxB8kohIbGuNgNH63UE80hn9XqqOynYXd+8IKT2ctemFyO27y/NCtSc6wsaZwhcD9742NAhOGvK5jftndL5XiG55uSTVbqHe6x21wjcNfU1NKVUeeSiQsYN+0/Cmfz0jWiF6/iHSisxDYRcLCCunkMzkficNHbL+YEUK/XHwGSb50v2sXjnQQ5L5/ouaouigP+MFnoZTvefGIpveCvOlom7U3gqOG6bPSnDeCvreICljScvhdHLwR16uZ8An+z/1do+vIbExQT0ysOS92LLkRcPItLDfplVP+848/fJLDMrfhM9xVir5aiaYmbu5qMywgMyg6QeuaAvxQ2lgyJymWFFocRE8Y7UBPRTF5gMuxlw1DKf4A5e+KFNsmnuI1G6CfLXdKzBl/dXI/ONwKzmlMKEzeqD2lLCOPsXuIzFvII6XOpFxRcUsbhDTe46Fl0P0Nymw4em8E8D4gqT92tlrjwHk3jTX41cp/4kEfMHmfcpzWJ51ySYz5fxTQI7998ZhyAm+CWpTriD05ooGeiS2ZyAEIy6vAzwzjR9JmHhGgrBUy6ZT33UDiW8GvysA+0VCkuhAJ4jEqKB/b32G1opsfSRqO07k/9AF/S54CsvF0mbgryFSoOkirtL6o79/ToTEf+xC/ETWJmstacb9sNIIM9SzP5tmT8BPSXTICF3qrlzZ58Nnvb/x2kKfGtUNDliIvFbIxjDT5aqqNH9R8muXItiW2PKyF4uf/+4JQBbAEIRqU0jjjBNvu6tLF2GWjzsUMHFO+4IybJFuCpfMiFujA4SBSJ2B0ulbSuv+zv+s6vmCeBABuUD6ekvGRSPGgXbd94Cz3BbDQnUvFy/2CbVGIfij9+pxWj3owhAyYN2ysH95Merqii6gDT81qEO0ISh02be0kSD/3rbmY3qfcyw5OB1nF8n7Qjl0fphfWMPkgDFTyzL3ZGhDAyo9ICSU8ZdvpC7dczk5zVahTmu5mQ3lr51Ia+in2W02tjZ8pYtgmFIHotgePaOaxBPRudATE9rl2Ui4QxX3GeaYsmj6UdhKt7yjGqDRgPv1EeUNArEqdGER4/CBAnQyEFWbfzNMv83oh/Fo1K05OXSkSfe5sRhS+NS+plgjv8+WkcWLg4H7Lobr0rPx7FrKwZ3si0rRyKN08Uv8RoM+p73dIAwF84t70wHna2u9OZc7b77wQytMjjDfShT16lM0LJ40YKIlV1teQ+8ie1sRi+McCq16s862XasR61Nn4xHWQlRPr+VEOWOr+6PNsf8opYxdvnb+uB+W9aXFK3XWz4HdQWZ30aDGcmXCE5aozAKY+7/LBmVISF3/FlSkNv9xR5GuxH9TeM3HRRTzVjiJ+oM3VYZrwuQ/39sBP74B9UUZHZcVB9SKV0YGe2+RSQwpHIhlhvw+yhv5oMlCtJYom2LOyhHekU/hiEvFHYdBBW82jbFsQzq+pO8n4OYnIdzBlFtz0OOghWV7bVabE6lJmG83dxgDXVIYyqyzFGzcguHwmsDIP7byHgsqnNvuDbR8P4ym3py1M4ZxktsAT+GQbYyihiusNMpH+jj7yvM6LpT/KIQrfabyX/Am7Fz8H4avGW3bzkCpfY4nXdDGuM4czumx3QZW6mM2knxApxIut8/LWPB4eTgsgSjTba09m/63k5ZSvZlDKDcR1l7v58oCUEu4w9a2tEFl2clSpRtOa118EJx6PYR9CrARl5WhsR8Aed6B5LO4LolCGYq75oj+M/ygRe4ECzp99CHQ8opzrwQHLBoPeeQLxxdgT8oEML53Y6yeUBJaHj0bO91CPbZJT7+k1DoRY/HQcCr6ji0XE0/cqy06Iibvj19yhXevbwOuStz7AXhD7YlCVkMuiQd8YyADtOWI3M0VGHHxWoiW/qi4GXQICtmQ/zOEUK7lzDGf/zylsVA3vkI8I114GgSTyRS+Bh1jbkH4/pfAweGH4f8f4QLzlVyDVJ/BmGbLK8y8bgBqI3I+7aVWMNF0Hv7aDpNvtOt4UTYiqJxpul3lkg7UicOYLCtRRMFQ1iU3DaYTa0BdB7cNKQ6FZMmQWSVZc/gyjtDi9yARBsUc/c++N/aksaRb47egb9xGsTeLCt2hikkbWVDo6LZRc83nX4rtlTIhpUketJTPwb+6bwHWbUnf+li76zoSCQGMuenYMyoiWlpAvwL+k5sPyRA/WpXGXY3OsGxADr8Kw+hAGmxDZxNdIaX2IL/nmqkIzQimo7XwmNiVA1PJ5edB/AUE0kfMZewizWZ4iuVHn5VsJI52joFJpwbw/dAJtWlro19ysHNH6e4jxvCNFZS8cRzh/2hNmvRfbgyX3e14KzKur4RdudWVbmPMgQZNGgfpVYus0mN3+Hdyyct5/WaSndDwsc4BmQ6yFMNPg2oHi5uzZ6f3LfDU1ICOgkn7X7+UtR46lSruAeB/twj3yEHD/Qdb9DiLyy7MBol5HzVdsWqOj/VP7tq2tE0WZesERreG3H7yHSyXMEUnIqAjG67O74JcjZAcxpEuPNXh3flg4DrM3SBbO6WkjaVKvBNgKnPAuT/zds/ChwYUjAE7OYSnzDr1+LI6jnCawBTRis7yw0jw0FxzHpRGa+JxZia38cFYD18IcrgPlIyfuV9NGeQmCDA0Me5VTzeGcFG7WjqO8OINVhpWK894Pu1LbBPHEtZGYC5iYWflJbm1oyO15TUJpsvmnjceXpjxeCm55/6SY3qryr1SiAbT+3LI8C3iyUA2mYL/XjE22CORcFZEYuqo9h3YTkPWrDwpHS2HkdZvuiot1IWHmkGNko3eKDMLYI+dR7yExMb9rbA5+f2kjbCwhX/g7yl7ExTNmMx30rZb3UNcE2IgpbR9GLTx7JeuLFnC3sl/deaf6ejxmJ7uQqk900/Jan8jcAYXo1v3T1NKYuFK095ujC9Qt/CytmjTlquj49WsWl/V0RcJYfRxYKM8jI2fYxURCbuOSCGSU6nP4TrFIf0+FTy+sTaIxP0gSBZKc13U1V4jSYj5ADfstagNSWXVUvvT+qTkEp9Nd4fgOV8IXy9ibueKy7sO8O7GN3mbBoVqN+HR5h6RsuIQZ03w3q+ITnHXPChOlOKhRsu/zTV9NO7o7QMdWyCLC/3ddxlaP0oG4nv+iAq9FszsY8SXT7pu/QFvrq6BjcI4Rx+EHBzlXDy5bfG/UCn1VGAyO0g55tWMUGfH01TQuUyBBdQgUB95iPRvB/zXZAdYPN5jFW+VpzHLOLtzZX/Lsiv5bmRpzjEFg+tHDnGbB3UiGxb4yb+Ri/9y9RJ5/m5IcXtMwq3sbbtFxEAuG9u6lSMLk2+s3NFqMgnoemPfr7cjP6fA7PjYRMopHOw0bXJ/+ybYeNQUWQ/IJrkJ4V43viYmuoQ7XmCqiolJO9nvSpLIK6dlbCY2qq3EE7B1Sc4vBKDEWQtLdVFjSmSKbnJ1Dw5LZ1ZN7QuXRZSNqpE3h3D2rwmX14o13Umf8xbA/Jc8gIsoU8n8Uq5W+DjugqfQpwX5tCqjMGQuVi44Q7bpM7zoeEV5vvkoGbo+MYZkYSoT/O7PwZpOSTApuI5R7/RcGAWBYTh9cSCyVaBugtL/lhswtBQ0zwACxydd4YuQ492DR2F3BNehlpLoe0Tf+4XfefQDTMWLPiUqUFzRnkYC72PK+hRSUmD86jIe1z3FZKB0FE5VAq8MGja7eDUulW71Nh3SQgR/MvYixNAQ4bs1g7tfq+S57qOeZVLG9bKZG9vTZM0hrCiXAmH6FtAWMD9NRGUs0kN1nt5zhQcAdHrIao8UJ0/plDQryKD1Ii9wJb9DvEzJeEbjTpDy1pshC1CnHfJfneZrJ7ph5A/EdAzt6uZlQqfgD8yn97EYSqsVPnG19LUdeUN2QiSWHEl5FpvcTsfck1khWWmcTJhXawZa3n6G1fOzaO5Wrrxk8isRrJmE34AQ2RYZJMAjjy7l/G2uLlxKzwBLzmV2PKNMiBdiEfGw9lpsYAxr1NHDFsoZd16OFtS/7qBt+4pwyajK2RlkGIUbkpAAXY6Nimyy1m6+Dt3rQn2cy6kLX+EgqzdDWdqDespekWPANiux4dL+ekqxnS0g03xNjzha1UbclrzI/CRjFV5wZ6lFzhomEiJTbJ44g8E8CUjRCYiUrf8MIM11DboL7lIVIJZx7bo4Z/7ITZ9mNTFc8TD7mjKzSqhC3RZ/nzTqQQgX9zURbOyN7IJ+ZVyF3rOVbM5a23CidQyKoRGNXXeZ7Sni0268scnfWRKCGgvjaF/G7Bs5ZEPdXaUuES/h7zeGdfdsWwAanczSjLPjWaJ4gyV8NK/WWons8xeSfoUWyMwFDcswOhyAAVnPbu5N+m2f6drCs1Ey5qzkvZlNRubAj8J1eXqO7pLNBhNtpORtoIWkqfge6kmsIng1v3bffrBJ4MuQgDS/UKedqHLXqAfz9L8kaTELE+/XB75MTO/7PHVRPZg46hbraDVBt3ln7NomI0b9p930ZXGDXGJ+oNRtaoPRcrE0L5hbrrUbybzLbArAoMSQqn6ikp93xzio3NbvwrVHsS2NkEcHWuYqSz+6Fhgd499GMr4xid4ALkrl5hJx58ebM57dfZVkO7aI4oTHaGEmL5X1nw6gwfiLIolYFYpaOHIFJMH84Irk2VQQnSjmVyHPYYRdvLsLprGE0eRBMbDcdUQLHh/CWVf4fFnjj8WlLIecasffB1icx4hqlO1JoZ0DGEV8oBnwdVQNpLpFtIzGsTqj8q6I2xY+gl0p3mPjohKZawJ8MPuTWRbl4vI3wsUQCqR+iDCfB6TkyfN/AUIuo8zuo82vrS+ycfZT3MoRK9yZhl5Ou03UDU04Mnn5G3kDfE2S50m4sg+tlhm4oytrlAmWBuzkkjwd3kBKbO3VSf6MT4m7qVmNTiQPrp3Yx/eyLtX5lb9PSVjfUuncP8uSVOq//m4DLp7zYLsCFt9VIiYSSygixN3ZVJFoub9FJR9d3CeLO/uo6CNtbCIfo2rejrNiZzUQmihgAm2kob7Rf/gtBNd97wusIkJPq05NJLSt1Mu5aT/SluSUf5Z9TE4/v9wL0Iv6BNLbsFSQa7ia2qXKm8VIaqf8mBeGgoZJaZriKMIRLRFOe+g7Vz0jBtS2WTsIszPjafIufg3HfrzQ3aQxQMO0QoOzKspx9v1yvn6A0DfMNBNGR+pazaPSSCaJb6l7W8ba1LvwGhml6cGUXNEpBOg6tjLJLuvhvoBlXaARAxXASENRWdZrOBmGucHD3a8ili4GLtkTreoO32THNT8EI5RtOcT8R3kKQ+mgqdr/6tgywnBWpd7eGbGBDPl4puDzhT/ZUe9m+smTD/Snqnc7iWLqqc8xE3VEgqGeNBJCbMaZ15iPCgf1nxWp7jBZiSjd0J0yX0Q0X1U9ax57hjtkM1v1HbpAYAwdX5lG9dqJWdSN9ZXl/VHrp+UuhHkH3vWjpffiMWZrY75AV6oDyyz9FCGSWuPJQ197MMpnghFKjW7RzpkhvSk9nei2xyB+ctqZplVX4XY8u43OAjrrdZyq5VICUIpxnjHFCt7VnjRL/uLvRUhDvND62wJ5BjH3SF5G6Cc0IMUo/3A0I4cDlBtvXLVmuKG0e8syIeTteYoWrHY3zT7k5PqDooLCKbkpPSQgvDe5PkpI2R3uTX6+P7C95F1lDkYPPGqyzBpZ1pS7lYA1DiXOaZX+ymSR3EfyjjGd+2M3x3/TtM2MBBqkOA0ZZkEdPGx9sm+ZhPo8Prp8wZFdOuJ7Fs3PiasjpQ8RZdRyNMmuYFGoxweePWEvl31RPvioeGAYcbrSCIrk2AU+xlRPTon68ObP4M0s1i9YF2M4Nnn+XesYvL0WE9xx0qbT0E7vpdpA3fr/gXtaGhuIfvToNjAQpxBSC/G/CPO7qZVQqMVt8Qiu9hDYddTUvGkcL+BYEKPaiAeLoOeyl4PCU+oPzHtIuaw9cdAQnxb5W82TZE3kP9hQZgDzBZjNBoeQnhZIqao8P6AP9EH1CS4xxx0qg++3kfvvWYQPqLqduENYjPI1Me6SKst7xkaqHTzhCA1jZtOuuO/XeFVXf6/w35suI+105nAnckgnBJ12N91ZJzgsPwtEAbq86PaA11D0RBG+eUopANuJ1jK4m9GLS9CdFhLYCzSDbjaTtk1zttbwhEt6xKcNUYBHz+SnvmwU13pLPh76eAM9emtjI8JkSjBntVVzxBrg9TAyEReWNyYD5t99lSX9cwNbuCptoZD15f243zV6oFUEXxpGRmsoaW3/LlN5OKbTgt4sLQNyUwuFV2Kg7BG5MeQ6zIQM4HN66PtEgcjHwvEkoyXnQyI6vhMuHMdqE1OzyNCwBtn6R1nvPF9/vX6KzpaHBgvqrAGCilkCF0Fr1pmGYSyDNhktHbeDt0ZEI5dJkCTg2lY47tmZF518k1BDy9UCjcWiZLBUdUefAy2JR4cHk1Rgqb+UHo6DbqdQ9oUUf8vQi6CqrvpTijs3N3Ad2oqbh8p1yVwhcTyg+DO6hg+fZ8SbTcClQ7rup26ryVcI8gh37ySr8sYwZhyNtAXfXIBVQhPbolG8SZtHSF5e1aWTWF4Lr67hVxs1k/M/AeL8EZtmm14oKQE8PukRLVrocDLgqUIMAefs3/+awabmlmn4ShT4hsxJUOzkx2HVC07Hc52aIytvVzZ3v9lEBPH8ZqCJrjppEtx7XLa3BkN7mO9cNj3rqTCXIe9gKxdwsKcReAx6UZsj3nxKRuXqFXvVsdEsU9u9GSsIbqxEdYIdpC+OxEVM4+P0MsykTu6ppek5wTORxMwzqlSScgtOANhgil/ymn9+R8tpaapOUqONX+o9c4/+NMMcfmqEmEY+JQ0caMp90+41Xq8TtLoYSoGbN4y0FqLW5m7aVoFOtXMYZgog8jYbGrknHWLceJGn1R9WFwVT7biZfK+EGTPxagg/SzExjLSYPrFiZghVmbl8Q5UEAWwWTg+bqz3ydBj0hiujYsDKcAFVehKlf23U5ncfiBB/THhq4zG4lvzLLWiKUnV3untfI5egeQqW/mDzT8ndAg/WmZLIqURS6lhNU47+I4JPdBcYtPuxr/HBzirsZYQKqRDNN4bZI+pIpcnw7eyCp97vyB0YDY3PTLeZ1Y4gVWFTv5+6najHL9I1Y4kV0LVmAqcMsLRwGAmBUWBZgH9qjbNlcNDLlW00tRhYetZXU9rcMMHvzHjKaKeeXA5mfnSd0CBzHQiuXOtEN7wKbK1QQ5iup3+WDVs8zXWbIcbjtNf4msZMGMrZ+T6CUEt2tja8aMy9IXKrPdWleVWKAwXMpmCqWDCSF1+c6bu5K0fgJQbg+kwMEt2ywXfaTYPgBUnLwx/JDuk2GF+GqqVmtdA+ABMlmP6L4jetfL6ICVrItv277Wx1f4mV4J/xa6hF4v1tX1JUloWRc7OzVWfGCBWf+vEosIvQD5qjB6OkqzcdwHbeIWIEyE7lpe+ywwx9DMNiZU5VzMBQ2prWVLl2dCKYPTptzt7tfkuvAoNoqXBnj63Tx/VNOvf4O7i3/F+UteQ8JVXfJ8A3TpRkuFAgUcXpUOScW4h8tnO6fUPmRAwRwgcU8vlOqVs2A+bSEnH+1twuhJ3PtldA3SQoe6x+k0rjI1dUGe9HAQYe6zmo14zNOrqCbtlrSzKt1TnjhPdQLl0XZa6f8AOEHMNibd+Vvdp9o0Gyn/QYNFEJFllXaAu/t8o8zLgWQfm8d7XwWw2fvqDfdRDLIeup/thfuXnKdGYcxVxUs2giQeKsp3yWhmmXvCMhvQGBHLjTv1H7/Xu2uT+JAsQ6w7NYP7sgOyX8U31I9XQxgwKHKzSOj/6i4knN2qOWBR2jSQFi6VLnWnCURR8+sVIdNYl3eGs5AWK6autm4gb1dPaHctdBDJTrd1FdGH3a/CwA9YvDWdNWeDfbUK0Q6NWkErlmD2s7hyUOPxP/3exxopaD0tbdvuTCkTOwhxg6hseaPBskcfDrMArH0bwr10hZycpzBewur3XhlQTUztUp5WOeFDgEbz6CWqI9d7lc0TpRB3pblJv3p2qUIQwKbrDoJQNy8rL7XjMHt95BFI2wl8Kku6xk0XBFq+BgqNdM6kSK4vCQh5UDaAMalvIqwHdFfvKZvQoVLahwgqu267nff8tMAIS10VmSjPV0fQW1cKM7yWHWaY37MCxtUCrPKYYr875tEHkz/yX694pmm5p3dlBvqZzeXarK4tlovybH6lB1JHh3c0hzKwQW46uhGMPUoWTOh+8yUQNycc90f2Npw8NkqsfBZdlv+/g3D5CD/ObikQk2TbAkXAA58tzgqrwx1t2wWliR0ALxYM6RtqveiGLBGfacYsCPqwlMs3eOc4QUxRNTmTYsF7y0k5bRUoIORj+RVn/dWQhxbU2ScnJsXjuqc3QGGwlolaBLNHk4o3eTZ9fZ82xMIrr8hgePE2oW/1Lj9okSLh+um6Rn8dqinMG83gBQfGCHNk4fZo1dAOCTyK6ARyo1sjxtTpErPVjlOD5jL1vWUWDeNX9cxFozkK7DjvNTRbz+ZTr5p//QF56Q+AhyCyDwP1tpfE/gWDP9EP5dEp7XLAGRm8nseMROrtydzFiVKN9qvmzYuZRiWB4B86oWEVLryV/xKhvB0KV9ZlJD0Yl792HpqBPVIi22FuFv88R0UETqt1WmNtCTfdhe0UR1ZhOwTeV+XM1NPbxwaNT11URaFd5ZJWdZeuwfo24Q+NIInxn2dF9z5wXOSgmuAX0RGQQO4jLY2NFU4Dd3Kpc7NiTevyqTKZjDTA5dDay1qHUGtjsBJPnV5t8XDBC0ncS9ZU/v7ok5C+FXunfCe1H0yGMSfUWvTJ/r4L/HhAaaP8RilDhRizMCerPU9f3mUdI5B6R9Vhbe9aMEA080j1I83V5fl9IIBQKOTknZ00EvEGoVR4mkifoNityCZmdiyNTp3mHeYGpQFZz9nMW+6NpJ39A3mydGvoaiGApWAJWQ+lCE3qAjvlWm4LUmC3Q6/dvR/6SjK5RyH8/L2mnRGmu2Orw/5xTxWXi9ywa4v1ddpIqKIfXcq/b0IKiCpQX4kZE8MI6ML7MU3EPjXVkFZm9h7ELz2O8Khc2LBjymM8iSmbZGAhgUK+zaDZDFPNtCwMUf0ALgpvfxP71m+H6duncbfxBzS1ohhOE9VpIbcvLmhi24f3ZQBA5cpfX73HMhU6mnVYciLmiHq9fPhv+ggmRPOxlBUPbSf/ut5oxTOXpBgYjq4GTK3BBlRytpBgpbAnpGMNXxJzJJvkTzZCJunVKuU5MhpwVn8+eg+k123q4NE8+bUPGh8/Yai5+cbi88BPYF+hxCTm3nlviAhVp/bm1voi6c06AHfHjMjbkKwaK77CtOzUb/8NejrtQy4slJ/DpFMxSwpvXAjzD1s6pYdR+WGsw8Kl+jUIIDaQKmSEzBXwG0u2Zw2IFYcRhgrI8Y/g2cI4bhdi9pOf0DV2bP500h79BvjpbpRcIsqVXuE/N1TOpI6SmaMUGi9SPLk28XFCB3ltlU0FVKfBoo8M3KyA+VnB4eLm5oP7h/AYM5WdHbVG8rkJEnMrZQNU2ScGAxdNW1DvEQyAszBkuJ7OfpOpXTcaCdMnHUahdAN5ZSSjtobwOaLEwpWXOqjzydNoUamGvQx9Q/ufq8biGtmZB/isyNJgPNKmWOKZX/vvxWiauDcg8Gal4363VGM9tjuHz43TO1ChBt/memviJy5Hw4uKv0FxRG0SNzKYELknAWoCjhFUr4Ozd0K+k/aRz/ywBhlK9KGnVb74M1U2kAD8uejUHfkNpvUDkcvgJWwUp1EjVeCfwVUbQYUAQwVOlDeDnmD6PnEZuCCLpfZTZ4dYq//Z3Bw9kTGUGsDdh1XBIH/yrO1AsVhGLdcm3VkLBOq4BNGbdmUEp97igm/ZNxHaOcZjt1/uVcQtV0CEjSOQkhg3nricd9XL7pjwVPsyIIFUqqmxKOnKcNpVWNsOQsfhNGWz/G64TH/6AEMS6Fvja6GHVeaiDxPoppqlZHQnijVlmMvDyGrHpi8opnjHWIkcze3ZQl4IL5CFrrca2g5ev6S73O5zV4CyIPTlT9r1Jl0zYiNYI61jCt+sJX+Ld/7pdrHyfoK0Tvm5dreToFFb0ORLld1SsqSZgm6ACyJNcpgfUqAoqypWDxnIYwJPivXUf75nCZoeS/puA1PtpqI4A0sg5ah8E2MZ5WVmWLeYR37Hrrh1rV2Tyyv3bK+wkyshQZSDVad9SgVfm9iSnKT+lVDsA9ULvslrOxKcMFvwO006UWqjDJM4IdoE2YwsJFZsawiIIaqE4RqLZU/KQ5EIblx3vigltL7d5xLoi7gsD3DIB0JX0kVLtlv5gZ//DH2iraPzGm8gmQJodoUGKXwMLpWEgVIKXCtBeOvdW0E9pnVbXxEnT/tP+SfqnEzGw0ZN3cw5sDifp+qGbdcdDU0HWbPI1cyFFRHuNNTAcEMkv4YZJSDe2CCdK2rwkRaBGdHXliZMqK+pfFAIq82R1vztECzTj8Gash5raaRl54fupsmXMQJjzOxh5zIdLHyz/tvUNzdN7OI2qYUymRV2HXJQ2/wrpUCTKCNwZlORJs7tosaT00cphGu4XRpolAhJwX+skLjgxESaMBF8HE68T7qAFZavKO0i0piRLdcMlEa/p/jX6PvJNbsCxL8+GExIWoyNqUNi3l/pZ+pmzRCZg82NDf3KAoizpkZbNKPW+kM8dgy/39wSLPy82zIO3HFuVdDRZKd/soeNmi3IOMiz44GSm2UR1LpDG02jV28ghKX7KBi0Jf7fBkQK01EBA+B1vQ8oOtqlZO8uQ94QMuVtImjwV77fs8c0JI5bPfCKeN4X0MWS4rzq+Y18t1cLFyihdWJTmXPd8CAKfVAe51fPvAMxHdWv4UC/oBb0/5SXRCZxmvHR5t4jTDxgwF/ZujVXT2Lcw+UHJc7+u4BbxCztbJjBtOcBIq6uI5PvU8w91orAwzS51cXi9TOPd+YObg5Tni6+S9ue9+2lln3GrNUMzXVA7yDG+vHW4PrQ9UGlnzy+U8pKk1as1XwBcUpfbz2HT+prA2J7l3APgtBXzGiaR4bO+bNxVD1KCX1Oo5hNftMu5SNe8UUh8bpJ2vd8mm2cnFa631w+agkFvnmwstretEDyI1NXT/P8/QQ0yr+DyPzbv8ehnqwArHCGdHoYIJ4cZdw3e4O4obWDp/llG26BBSSL+tXLAkhe9l3ogXsE5ShBh3ekJuPhAvQ5mAcij8Yt264jq2A/GpAwNsHg7fIVdyfPR2WLT06x8O5+qGormlEMAbKBMxu4NAL11opLeSY7sHc6xVXlwYV7EmOhegtEwozwKPlJwHn7b4getH9zdOBF7veJSH8UNx+YOOtXuRLHEH3T7DtvzhjhAZeZUZ/i5ghD9qU6w4+czE0CCxU7+sep72pwVpohrN2BwJ3Al+pf7y3WzF+0Kw2Nwq7XMSiY8cCU4FqAAblfsA4+dbTyXBKzduta3aZyElqSKKi0q5/8+60xok3hqwmNqtIR/dYhkoq4ww/R7RhNX3WCxsH0ths9zlslWMRyjDcjDk2VhbxkpqpWXzVDNTIXVhRqx9UwiFJ0YvntbJ5eX2buG1/rtgXgyZKZI7nMsNfWuS569CkfbMPUGbhINdCpkhPg0V3ZFiCCiObNKg58RfFwkECc+Md3vUbyCZFkHNY12L0w9Y06GdAXyV6Kt5Jeb9/FUVpkt9N9Tltw8k3LBIS+eEGyiMr+sTPbD55YooYO1qRxF0O8H5QzxnJNkTfH+I0f0+zOtr4iefNjGZEgWLNO/hxlIiiP8C8cp/cn9wXcmHSs8Eobx8hFykO28AoMFvDEqGLz7/NYTL6F4qKy9C7Ad2qbse77zoF8pc3/KGfA3fQu2nqRTJsQXrhxQACiMiDopv1rC69SLM2BKED9uEsfZ8HCMRO9bE/FaBv283MMUvACeKAUOm6I8t6scTaMBF1Fn5uJ+sduQ6w3yR5Q+A26aea2+t4BGOVLXolWm9pI4oOZ0eBzjO7gAQ4b1hXJsQ3uDB48sYDmUWyz0edhojNfse4e8KuK0nrpRnTLKoKMGtI8NPlOSjm6Sbv3vHviDAQMjWjJQbWKQMCvQoMuyE0b8+USRfO9hvQZwH1XtreZ3eh10BZveRvF4KSQvZHqKzu/J5W4yNHk5YCPpc3NLVlwg7g4a1PcsxLYlrkblRrRwQSgpojk7bb1aRJ6Q6BygkSRps40FVy+o8VIoUZbd0M/Tk+vGFa+8gyZmpi/5jeO/gg4JYsZnBSjQBIHJYj8wyISXbmMffTlUnl9CpSOqWde4ZkAMqId7hzj1v0NJv/m1/1urlgyqA5Nbu0qE//vO6EOOCwhTn1vqdyTQduGOj0Z7CNNHy4uDo5vk0DVT8WEW7wwEXTwLOVmYIknySEfh8BEjyfN5EaVax7s/MqRJlIPHKCA/SzCUx8Qs8zYtpr5tmpiUvMCqXY8PYP6pmbkzlzcfqint7RNcKDVxBqf9ufYKQBHBj73x359NVzMMTKhrqSjG3Sz8S1CuAYsGdlxJfIx+SHugkJzwzfUw4duNQ62PUIjxJdz+94qs1fG8KDjV0twGmE+wWi7opdSrorsYQjTpmxxLLeHgi8KXdpEWFRxHu/sm7QccUgLDtaIinNrrOqkL6+UQ1Ti93b5NesfUMZzVpuCVqacZYMGz50LjsYtGS//9h6MSERCvwZdCJZ/v8SaiuiUpw9h+rLvfp8Ql+4WZO4uhNutHWG78czSijvvwXTC5MGkMIZJHwqmhL3rdFsZFRAJLjYjKD4jddfdfKxni+eUAW8WPRrWUiuAJNsozVcjlKV8fyJRLWdMbCpTtmU7EsDtZ2CsHiqN9v3/djIoOpPF/ya+SpvNqDywjd5akawY4k0NnweWP7pHXhJ8A/0NVcUjpdIqAaJrfZt7MJTkjbETlL1jCMluWFOEu5GOxCyd0yMTLhiYvBCucoShkgjwWSlnvCmos4qgwmpzMCZSnY41H4i3ybREDr8NssQRVN3iZCG1jycOZ/v8JtHWFSofWRqeRXIbm3LvWPzdsJyzjDJBrsNgYNwt/XdijNL6BZ8M8DuroMt8zjTBYJtV1EUmh8tewFGluVyx33lNzZm63kpyFS6s+66JpBGIxwiJ+3EZfh4qcGB/z/U+nz4JmZwRmwa0jw9D2PysQlBm2QOUQIxzr9L9lVXMFvXoDIjTwEGujihEk62iUwnrX2g9bM1gT70mQ1I8gu+/5FRJf7RVobasfM4FYT+UmGjGDzElQBh9KaoRb8vbcaPasGkA4im4pSiYIxKnUbxGEjWaS6dw/Vl7Obxots5NwAb0T3vorKVRcNEad3ghcAN9TO5y2LGOSLPdPW0mx0mzUU40RzA/LR7wTrDXO0KnytoPujoXObNV3i4Gjbhgco5eV6qfMvrg+LVeurVc5vWdt7v2B9KtRZXrs3B3uMGOek3+5/ruhkURgHi2uFeLxYQ2ZPYWGM+t2zdK0QUgZRAyMj5aodOui8r+XHx8WOiQ87xbyOUm/c6hC4lMdGFIA/wlwKyhuZ63f5Hd2MIT8VKvWaz/gqCHH4h41ScUg4XB8G339gi2dumstQKJIIVPKv5TVqi33JbF7tyAdBPfaVOjl9+RsYiLypdMbkq9bpsG+gfA+qU8m7WZGaSKi/vP8RHAbToDAmonHaP+iWQqswEnw/kUJq5fzYTCAVJi72wIligucotDHtXGfa4X0EjJc5kjUyA4jHuSAkVmhMpP3ZYayQYtzJNXllQcUwVC0XpNDPaOBSM6zVYUp9GHkAVJ+iboT3oCLZqODhV5096nH1LtyZcdiAQmB+MNtezDOAkOyM3eQHZhBShSme8j/KjewyD+0ZkfgCxsOW3tUMFi4/j9kHuqVDAqq2AuDouZ5evS7GaPPsw4LhhrSH6U66NgEWJ5xcXh09l5p3jFi2IPZaKXvSzOPgdH+PaVrAYqZ1hsKnXsJ9X2/sqG2+pvVTrtI4QB96OChygDbvu9c6k+xtVBE8Bdq3bpe9AtQ4CxjX8E5Q8et35wFhnuIHS2IZi0CZk8ulULf2ssiFnl+VTD4+vxGrxdLMX75ep/1pXqhlmlEEZ6Hv5MQxIAwk2xNvrJQGF+hXfLKtnrFEEZXXB/oDGyIYeV1AAWR48HkRfRGyb+vTeKtBBwlTwnRirYFztMLLlIrjIszc3zg/jFTKXvdSjRfX1QxeWKR1iKfeauP/XdxiAgnoYSveAbLu6r4Y7q5gosg/+SmzbBFmTeRJmFi1WdrXXXlDmPZDJn7ZbRE/n/hErrZdGFtaF5sWqaz9ZYBSZnDVkNtXXnVio42FAoYnUyh0ECoximfdPsELUD7KIwA8fHtu6O1bkDE6w/tfrvHDZ7KztLza0z0AK/gMSSilrGQLzedVwcdA2UcG+Xdj95r7NnkvYGYna1QhAu3IpHoJeCkyX1Sn4x9fp1huzZ2M7dTlnht16QiKZI7HaBIOp4njY801CUPicYS5rvyb0LQskBxvwgk/0KYsurRawYFZzZEJ5N5l/VnOc8TnRaZFfyc5H/I/Dyt3LGFaVFR6zk6Fi1mJa+Xkta6dJ3I/P7td46ii645Og/eqhcFcK0A62O492vIb65dQGaPwj+1g8dwfCAO3H4ymjW5cvCce1rpoNWpWspUPfrYHxxDxIOl1WbcKcUfTIH0jiochvp0VoO875/2nJXhP0TvK6omKd790/fYJs1KppKU0bFO9s41YCaxU6ShkI8wgsmh4KHOVBZJ0GqbqZXRLU5jUE2nk9rRS7q7otlXlIlSE+y1tHFxgQ+rTeAyyavTl6zrjfEAy1GZe48RNNA1OKH3WA6N05IQgS+i/LmVCOyxV7N28/H1RaDprLA5xZ5SdgIMYHnMaFxIrI5XyOD55AKbbyQBJtGaNlqo15CCAAbJHttcLXjITCLX8Vx7EujERaQGMoUyFDu3Y1N0GiRXm/2oHx8aRho8ED1W4rCtN5PS1joI2Bi9EYMsFXdwGxGQgJ+oyvDxSJDAmer5tpWF6YvQl4eSzJRhNYjDPQavacLIIx4MVN4Guk0yN2BfucZKgJZAxq1fb+4ha+czlIrXuSGBXgxzW8u8bMj6bkDcGFxmtsFi3QQ+n7OkwQtCFFvSiKr0O7SJFplDCWIzzAfTopqoRfgH8AhlK1sxygdaTBHZ0Mp8UnjgkO6X4uqu6vKmDiE1FDbD6Ld9ScrpHYfVSrH2ZMZVG1hA/9KhOeQbQFmklwq1uABxB13MdKmQ0uIc/AQqxF43OEPDhuw+qttVQUW5rEPBw1bGCGAsaF6EFGOrEoS43YiOXzjsU67dyDWT4Ym3ERlJIHcpQ9hV57CXsh85BPU+ZjXSjG3n0TvI7ja02g/9+SIX5wx9jQNwgRVvd1Y3z7984tRb27rDzjXMFp1WbmSPPiiw9+c0RcgIHo7TDmcfoc4DsHCzxN1lKDpAeKMJZPGix3GtchZM8S0e4iadP97/VSFl2eyVwDZyLpgQkT/jT3yG2mS7KXskcZlUXYPLXrn3wq8u3+lFscT2XeZBLVon3DqI2sfm9e9fRqhnHI8ESAGoK4Uln0B8GwthkMzTa3H+whU9OhtoFteqzM5k3uZllBT1MBhGbV1oL8E+VOimwrHwX8NwLJbVoQ5WDM4dUg1vvO3idiv5KcxOzctJOb6YZ1UPMjDNIJ+k4ZyjDo1yKGXe9BxIuTMO1XpFad7LwWy1E88oHrP1ZnZ+GBdhdhPLX53z6hxIQaPl6wP+Kx5/0Pqz/KzskEItfMCwxlEImrUOR3e1f5IxtPeCzjJMIMHe+V4GnmZ14JfYvhiVElPKT+Kpw/jnZk1Kd++j7C8ACCAPCH8aNFpV22jnNd6WO63JVj55UtcrptlEDT9X7WqigPnZBxG1cGhYOLVwCh4XBgNzDOluJgGh6wGbGdherKLCGXGMnGkHL833dNEhDS4QBXoMTnOPtT46Y/n9sMJzj0z8YOfUzoxL6pk31urmBdtwtifWsoZyz3Q0Ru6uFKeN1H/6DkfwAvH5YThHcCh1Av47a6BImwFUwHG+/zj810UdUupGDBBsOcXBvhamxlnCROR99Pa0rIU18NrqgGfQE57OlZyzI4tHOPKPJX1O09MGLSS+MPnCD5qbTxuZmcKqU/YIDZJGACIP+839XDciwiPPs2VMbGMxffWJz5hLP2sXoz5G8Hq7Brv7AlJmQni1bud2Wu+mwB3OmKy634rBLwBIoglZWh/WIKdPwwYaEsZkegiFRmmUAbYBljEcR369Uyh2h490NjOtix0jsfOpEP8NA5/MghshZ8gjw9bFyJPUoEdDlv6HzwMTh8cXB+YYQiLUA1RtmeoZksN6P7ejtoD6B9p/bYATEl3tN06lZodSObXZNiANGStRU4gVI2N94MXyZCkB5GRkSAianAfNHKMewK5H1GS9jbNegjOCunX6gq6ALUDpA8i4fQaEuMYbujeUpXPdPBl+gsDrVdHBpS2WE5Jl2ImqJHn/mF4rd0ie/BakTs4Wc6Uzn4HDv0Rh46ilCdCazr1R5CiZMMYkwRnZ3ZCj1rK/NiTgnawEtHUcWht+oSm9/Gh60chGI8+z+kPXAgQq2E5wUctvNjq8q5SjqvnQAGFtiMxOkmdhVQcO7AIG7OJdvnaYN1S5a8gG1un/5Xys28ZGRJ4v4r1sXp4KQb9g+zA5BkFXHOT6YCEFKaNS0R4qzJACfubfwCNGQKRJ3H/77AgkcwywX0eg8mtbZMgxilpLmEXRc1xGe7BTR+SsSbs/usuXFSz8oyKUZryH2duooRCTqCA9IOcl/9bzwVnZj4yVzJqirVqPHtmcpcGMe3IR4Xr0InEvYBnW2WfrvuI9Oq/ajjprQVAAEZTgrhWqmOelczGq8dqYrA7We2E6HcWhe9NLWE52NCFkvszBfPSYL/3dED2PA3hkBMUYMfZl7wiugkQqQ9b6Lt098sFAaBOIpHVu3b6B6CN75GdnIc9cKqKWKVb5Ed7/rbdh9RVhZcEy58vDfJDmJjz66h4CeyFzGtaBFKatKbzKYg4CKPZ/Ei+vOLfV6IWr1VGDvDVsi1L340Oob2QJ2iehLPLtLPQkY672P5DR2M4xzMirhVQOTPu9x2h2GfGObupv/Dys7rO15I6t4vI1yNNNXE3E/vUnHKHndKZNBGBkIntSG8/74knMyC5DiyOXYF0c9/HJHyLT9YQ6Bwt8hUipOI4u1U5/jO9fxnq5SSay0Ks9Evrujxyg5bjsDJ9DcH2DvkZNZaJZJZvXajEVmmKJKPM0YKWMSZfAkoK0fNrjotqxGRkoOOR2YjbdBYqfl/k2e3ik0G5QTRtRlsmLySANZHWYq+daviH4CTzKrodtoZnzVBpl9RqPTVxGKljU7iwJEGFNNfdnVN8s90VqUQPNbM+gg7xFznppENiA0nekvPAB+36kSh19VMT3VGXqL4ei7L6POoTcRpeeGWNQMrK71zt2ZQQObZIcsPoZowWXM3rKsZZD1wXYgv2cmuL7zVBLP/fiBF4ejhf+obNkVR/Lqj8KwcKAaQ7F7pWp64IoG3YP6E5dLbN098PxJdnIhjzHkuSadjRrjKoWqmAHJnJQWtt77LwqPerymMI/ZC1UQ+jJx6EUcACl3DBxDKsenVa51Suw3JsP+kue3RT6PMwUqq5Knjmf3n7ia5reX4z8BuHCbD80au+slWNLtgsNsFGjxn9xlcxJ8OWj3nMuALZ2KZpw4ys3B5CyyxVUjmnoTWnytv62DosH04dUZK6q+pfwJOKp3p0t1X4w+W3JRqwj3lco62RBUdcdINNuSE1LXaXAksEXm8lN6+gV+UdcpvWizv5729rOLer3Lz2DI8BsNRgtC5ZAuDvSCmBMxBr+t1Uax7SsI9d2Esskhc1mjYpHsgWKfRREnuVJznBQbYaYN1ssg5Py7sREEepdZfWeeKWNuG4NjLdQ3/0gs1gcRePmt0GbOAoMcZfyAzzlbvOitCkR5n/KdbBAvlRIjZVOeMlVZaKoggHiWckXBrXC4Popqipk5TbvwA6Irn8aZyicjwetJZmE8DC02nD0eBYSGhdcDjeEaMGaeQ3VucUFzLihXr6aTTkJz+B+e4ASO8QXK6DFiKHZlORbSuWjLP9/5obM7skP+ejChigdTtawvvzM3GmWRSINzkve9iXBF5F5aweEoXJ//tsCDTj+c1grm4FfSdPqdx9cfWe80tDiHYZbAIzlgw8pG0dalMrxMB2LAZVSBSZm/Oy1kxT/Q1qAyzsqQjFOY0a5JIjNG89j1jGeGqdKlf1+szQlV27l64ntg8UbwmAwY90RjXHNkjIeZ7ia6BF95tjCOJYkpnqML7+wQiP9G47qB34SM1j8dFf0C0S7tKhGtiGZ1YDhInaTTDMubL4+DVLqEZWeuwJjekjZ420eju5owll0pFPab0TBXhjUs+OnxWGuxmM5ulykTyOL/8AwFviGz4rw/uCb1V3Re5qAQ8hl/3XmBl7k7H/EePiwV820QUpyk0FufgcB4Ah6MbTlvpZAgQ9awxwQwGT0wiXBSvRsSVbK1XMI8jHXTQ8CVr1X2IUlH7PpLvDKXAHXr+/C8tY5zpnlnpuU+uDVxM8Mb9oRJlZfnHiXBNA3stUWboOZcd+czFrvO9djXlpAYEGNB2BtPAmVkNHVaVvOObQdk1V5zusv6fZLenMiw+3t4D1GcHg4AsYRsCuASzwdQZgoXMDY2NUYYyH4fYBpbityT/+7S17nDinlTNDtkBOREDGkb62iyBoWZRwTER2b2jc/qmAteAjZh2UKbezUEHacPURgUZno+l73OnesKxrDOulW9BaXdCsD6TRyp1DuzZbu6mKkcmg1NstIe3TBHznHn9Wrls+sSwLETWMN/njaCl60xzksKxa1aD9sFEbGmM7Wfn055JVI4in3WP+lLehTDv5modnI7vq/TaC09xqmuBUHQQsi9cyddlv8OclDKpVuKkimqpF9tWGV382D6p6VudhV8gJCgI5jUBHOKuuO/rfSuhQm+upHkADNpgb6zv12RfwswX24LaW7F1k1pCbI4mwUj7aNLMOq4qvdZYKR/htpTL4XraTUyJxU8TyhhETBAacC/2i+vlyoWkApIO2VLj4n0JkPKjLo3IxrwkKZ+suP4mM3Z4nN8eVS6BaA8HnHmzh1giClaOVOoPUYqPTJjIboM5pZo7bafAhCfKD6FTaT073oAo8nCH/UMW1HNVPgE5O2C+STnXFdcLVMLKkNOz5tcgzrb71LUs7kq8sfAFAM8CwQE1jMRxtCd8yQizomPqHCuQfW4xQnNXtqL1SP1gdPx+SIFaHO45PFZyQ8irxrwX0Qtqu22D68bAYcCgLbcfVr9YHZPJq8G2GbEqmvR+oQXfukVqP0l4jKhRKkJ2h//XHsJHI2RCE3RYQGrboGx/YoW0E3U2J2PFWWRJbd5U9+ynG5WpfJBIeZ8BtHu3dDm2ZIVUlaPzcszyqZZQAmwKMSuwtpjzTRDVT+hgGEpQoOu6SEFtC0t3tT8I1KGYBd79Em3IrWOaBar/5aorYv2xk2l5dAlFkBVE0iqbQ9HJliSjDHVxvzw551XfdtqrKCmfL00a4mS7fhrCzUVfki/BQ2fT01k7i6F1TNw+LwEFM2oSwI468mLYlisctcxvbagbuxXjprAkHs7V5O5rXkDfoIJeAaaVJg7DcZZcSi/+0pxqTJmPu+IO5tYTIU6P8BeQC4ZFH2PX2Wzl2+ThXzdhQf4tBpd3XfD61zA8mu6twL+4AgB+p7sheWfsh3/4VJu+vWm20pGsBf23/GtVR6K0ARqrleuLfhoeXNHvX57lrGHVs9T1pIEMA6ljqqEng8yO4V4EBjvOjPaajHo26WFE/poUxdxC7f2toLAeikhhMWqeo9ble4Uvhkp1x/3UqWUJPigoOger9iBOm9oBJLjKX8ePWwLdcGOeM/VoAYtbimcFx+6sUDdGANPWZyiRfUjs7QR47Kjs017RJvfiytlH7KwcIc8rDt29M1MnHs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WGnTUV5VpLbnxblOn2VQS4eHl+H2peUqDrwaJ3uCymRq1KC28S6v/g6BtKe+Q8N6GSgsmtST0+H7PBKaG8QNm0JIc9YUSeLm+T5DrH2lh98AcFVxRgNFUymm+dPCA1Ie5QaON1ZW8/zWh3h6AXrZBIl+OJFb/I9UGhKBg6wf0xZFwihlcCvracZPNjyLcUgU+02LQPsAD0y6dJhfP0xMDvF9lF+Xmejsj9sTzPKR24knZp1cRojCkXeZedgJ6hsT7j1P1YV5Kg/+iXW2rFtySqbYOzIBtKykHRJ+9/Mr8U9H+XO2Z018sGQqbwkoKJ4YEd9dx6Ys4kvNt7Y63jBuhYWopC9rNdE25GmJ179mm4nDjMwSaBbwj1fVcFCXTyS08RmASiw0r/cOB6PlmfaC6WQx98l3i87ZLwWGHHGPVVEMiIsjWBwBasj5sLJEVJplAtcn+eZxevdpXE7lypiGlpxMY1k+J+XDDxJHUQySEak66DJf/4VSqEe+MksWEFlMX9A56GL6aYqUtMhALpz8k88mKoH892ESZ+DUiC+sg0C5+bfDMhS0vIaYc1K3/5BX3dLLTIpcVg9BDTBgnuhkTX0fAm4JtJqOv1g8mOcvrwm41nLj+p4UBNumt/PF3UK3Cfe+qwrQfzazdDBYF97OKVcICKkzIYLZz8FO3J3RjYCJAKdwBokpcnxQ7KmPqDUikj3UACVB3Sc8dweOmGCHPDzLShqEvPN1eHsG8kaSxzMK34WWp3J0y0TV1ZPsfbrP16pUghrNnVDIcV9BF6+lULNnr4ReWLx1S/NkKlC3lBsjUsDIIjquqFQFGHJePNNoIqV7I4udSF2zMjbX5JwAid5SDTKdopiNb1YO4QtmROnblTCXvA9PLwJq1rbtYxtSs9ECY5fq4Ogr4EQyHqbXMjaxmY+WF38WLeYf5qez4DCMZcDm/2u/NtxdlgZ1CxM5KERKk9psc6LyfIm4SPQx6wnceQZHsIuEG2SglGz/XkS8jL7SVmShvGEXJLOeAOYMuLZ/QjyePBDPzKnFfogImn6kE0SIZgySHWDaSQf5yPIg81ULGHEuu5ZOdCFcN02CRaD3JoW4KYFpJrw83yZbyxjSmOkITUpZiYoe4NZRgegkDFVcx/UKTqnRPfxcH53VQmCQiyvDpl8F4YQDasvoHZe6LvYJpCjzCrmli3dBrhA80zOhpG5tfdCqA4g0ixkhtx69FSO2lk60bXUzuR1H0fl/Fcowd8dJYgx62h5dTro0opVcNY7Il0mPHcAyEU+FtnvIkGWvDv7IBinpjywG0k2wiYJOv3VRNlgK87TsFbkPiWRK/VrZZKdetx11Kp+IV/RU0GHI3yuWF5VDk3Q+JVyOZeyukCMe5MUjOwiODOVFWmDNFeE0PNVA+b38lqMpSljhn0RwaYAjMGoftMhAnQmXK5Wut8jHA0uTMhwC3X6hgZ4zpRHgma83nBn8A+/x48GW79W6R8lj+nRLS5lHNOSnYOJ88e+JCz/5ZDrEPVlIZV22qtl3lftfDacVxN1K2aY5UV3LPFd/Dr0GM2e93nAH3Bkq4mu487tBNp3GSZLbeNHG05RbWzeuAuz/+0RvxWOxEP/PiHO0P9LpQtbcSqPS/DrYkUC3/bn8TcG435xfOKawCnzLjIiDiZ27/+DHFoYFQ8csFyfrboFzy5rYr5rbU652PqTOGYFsLGQYPHFOB27QxsDHL1Uwg7hnYzWLmzeN/FRC0zKFwFAJs231nAbv8IUK062m3r0dbIKiAqkohv5Dz3yFiHsU7uJ0CxYAxatbnuiau5xoku7FAjb8QQRBsp3RD6WFQUmXux7jD9ANOiaSKgzPUd0whCRK9GA2GOoXZY5Y36jQjLmZVYxukJeu6ngekwTEk4T/y7Tjx0K8jnqDzMjwrxAYgUsFH6/I77ZQk9YW0av7dLHhlGVOQKH+RtY59MoKl4Sy8mfl2khpWT0vvwj3A5/cbassi7JV5q4Rc21+XrfCTMOXggm4avngdS9SZQllhKjAaKyGeeasQk2CA0xYtb8ar2KjgMHR0Ll1NgbQQ51xaARCU+SEVOFr/b3tO5EOn/zAVHtzldeu9iLHzRGXeKZVUe7unBbWaxIIuW8rmteFVkeM8sUiWjsdMKs8cDJHIxpT06y7xKiD5Khxm0MoM0+oA7YqyFvX99HPna7TMas7oTg8qa6kv8BoRjgsgy5ybEIErpJRMzhySaIFRH6dDHpgovdcG59zmx/jsEwulMUg0/lX+taeF2hmZor6jNjfRlV9uUoQ+BP+ZcXLBfDWGSVsB28ng13UBYn5ta+OE61lTtHXMdf9CnTQ1viD3QtGI6w5Gst9zfmmzS6zLYboATX4My62x3rhid7WnmnpnU6R6Jrp1kxWFN0YIDS0zPF3UfSl32JPG1nKo6eurQ1rFObaTcnJ34Hk+gC7Et2Q+l1/9tJMV27UCWQqQv6q3bb1po/9CQQKD25cYCJcuLfZMmxdMafrc1+r25ejmfu8R3limMnU/w2isRnqyRfVjeR97W6H/7Zxn8SfUt6G7MRjVZauo3LutfogMBrLikunr08G5Ruif0ebJaUegLe8CD6fsOLoztRxUA8ZXk4vFGz1gbfzJSErNVboNl2cJNocU4W28j1fVbfgMx4CPTooXisHd1SPswuAFHN21OoruO+wTl9r/1oN2hWDlFdtGWkjnSHSDIHMgZTtGcc2aIyhgRNonwd6NL7s/o9QINBUEaaITKHK8A4dPP/aMLQ1sc85wDGooBQFjKLya8pD9rvQoXpdD8Hzs9JJtca+vZy1vJ/69sLDYxoDPxzNlazEmjPyqfoGtwtTErBlG5gJgGnHhxEJxWm/7fPgGV1Vuy9C8tXF8NuVCnW3CZQdzreYw0OQVUNi9wgVqs9K7nYG3sexcBEjrYVOn52BKtzzPouI/Wr1yhZaRF8bwgQRK2L9AkN52UkKMdudB8LMv0UahK1vGN04UAote8+jugeEdXbTjUze6ClKI0mWrFJZcN2MqOY9Wt0uQhi9wHdutzZnTQLyrOf3Lem6N776TPAYwlbP5n8Vr/DsbpBnit9J2GGWKilZrEQJ7VbtZte6xBk4nJq6K/vTsHwP/FeQ9BuRZEcj3Sf30hFtJJ8UVXgIxhPzXg6ZktYHzuVWQMMSlsROOO3PGYvWcYbLUvOOVIgdqWtIyvWL2Jeyqi9VWwM9qYBAilv6fueolqgb2VzGP5Wmk6+kH17jarB6cY41BPOS6XNcsDkwPGc+wyPGKz/vYEtKoA19ujmV2UnS5wMI7RiJOBQlhzDgFOB5cigLaCZSME2gYOvRTsF6A/sAxur3TX8b4DUA/uMmgfHfcwNafhrEWUUYlAi24b/KzhEmPam8L5wIO7i6mYY7zb0oBh2GsUSBJId5kIhXY6eurmO9ifhIx+N7ilYRsyWDfCXhifDlwFNltt4MSOtw3whfgLvwEahp5DmjyAZLTm14D01RiyO1WuncnnKO3uZWPsqFg+kxUOa8eNE/0WPAnJ2oId0QQ7LUeAahm6Js3GfawavThXtSLNiI8BBVUzdMxVuxGRaH3DrWMj93fxl7RieoJMgreMwcaQJ0+iSuZkzA1iqD3XaiV0fklNsBxlBI7Z7BRAzYfddkWvrGFLs7GPz7FOMVT0mK67+vA9EuPhEDxHlwnrFJ/QZBmeffiojZGk70/QaD3bxXUSNuJMHDHxM+evR2cvk7eodZBoMgX6gv8lHL39f5VTRd1RQ0DLJlee7+CPz4OSE5KVWJF8eQclObHH8PgSPZzUcbwJF8alTsamGffUYEYiIggzs9AE671Qrj0eh4SUD5mwJQqa9XPEIiIzj77uMIGsRq00YX47lp6Gisvs5Y+9IyWxGSzNOwkuqr44sHmGBgXmFsYStlityf0OmvzKY5XFIw6qwdktHQ0KCLfJFYSH3u84VDkgYzJTgnWp8/sGeBic3Q46WVYgmxjNQAgW8r6z4ZXcHwSQ5Y1FKEEDz+vP0I8FwyZfs0+xbyy2qu5uPF8J0LH5XEfeLQw9h/7ZRqsI+Lls30RWchW9onswi+vcwctQexAWGCmkwYLtbNoOMvHalby2AbZubvORODT74CkEZrr9OkKLLHavUojhDt32WMWXGRDPfT2un5N3mVUjt5ZdnAySapynj3OJI3T7y5jGsIDfYaJ3xjcSqDOxssbRDMP+D5FBOs1ER0eEWAjIFsN+DjAXCFelsqQy564nsJHinvJ6X7sIVgOh/hsIO2kipAJ6H6C4oCh7c791V592uWt2wbCrNk5HvQuhm3Ebc0FtLnWzex3zhoNVvFw+sLdd4yFLKhO5+7K38cxF7SW8OkeerLLvli/hyLU/zptwvC/qfILW0db1pAZEjXX4vAmJBIUS4+4lUWgbn9IC09pkXp1QPoCTlwzGz+vQLE5nKYhw1TUujg6TuYpzM/Xlxab7rmd4LpsZpcZMxwIm7+QNk7INL1uqmq77BGonM4aO/o0FjO5hNHXCjEENKC/BKrxqQhd3lvzydPcvJmvkO3rDyZkSt2KOUF9FUzLiXcbDgrB/e4OSGtvFqIeQG2fPh5kI1dGtxlOkTd3XTA4w12ba+ZUVlOGGOv2RRYVPIsjQ7Oql5YSfZSMtDtrXzryrzzxVKEpMU5QqhLepV/Z3rQeBPng06DhRAaorqBItGRLmjSFMRb6Bqw7gbSUUS4ILyi2XNGCMtZE/7a7OalzaAPPmMrk/urzeFNJGalpeX5FR1JB7XvXhDjkDy17atWk+Ij+D0b5PecfUTNr2aGa3H6u9MFPjQ77idn21ffPemFj50RvotEXcoX9ikSLqUA+ur02BKx5oTjcFoX5UofgY7a2wED6f+9SEWX82M5wrVDIdQqNHKIL+ytVX/5Jp1o6+JqU83vfMDLvriT684REMilAS9VJ6r8wB2X8ssQqCIGbDWWBERLnWvsrBjq45HNGdT8TeK4jn6FQtnfzlFGLtWcW/mjOIfBpbkuINRWBa1H7kk0TZtiXrH7zxHqSfHfXOlen2mMpOD9qtSqrUVJf4jBW/pgpiOock6eP0mxriMUY8XOdvAi3UY/j72xa5FenKs8E1rcZcqgggVcc0iPjS7ggTnP+SzLMb/gzsAcZzI4mqCL4O5dcUiqaxTs9SvHiA1WwoDF7qQxPlwywqGCtbEIZ70AExkfny/QqpvSkrPWxZx0+1DmwaPZFRR4/HN2RL4wGguI/4JbOQTq37RaYURnZh6GYLKOZTJdOUMPwRkRGYDComiVHQYvEOyurJTM4XmtbOcmvRsoAgKPPQvMW5erYmajYW3QTVgkSTZsiO+pm1419CsYOrLw83FfLNFaMsTleBu2215eCKwb8dACovWb8KHJ9RS+ZtFntrQmusdNeRJs6tEq9BxQPNa6ghfX+dbKJrSSyffJ3vu0WDkVk0e+hNfxwi1ADmJ5ZlttG4eBPGxCrpO34ddEN4X9iyEKt32LpZqSDx4htfzKibqjz8FyCN2nv8aenC/trCBRTNsgKF9k9Ofv+O5/JlifQsoG4vuo0mO18IqHgerwh9i0lDxae+M6GryWNV2hIP3uqCPQHS2QsStIDOWGbtYxRBsGuOX6MckNKmuLygwFY49esS8WkbPxclDNX+aZSSxIIVk/VRaDWeAD/IsHAlHy2DM7WC45epeY57QM2wpvIg7ilmKpXTdnBdKEYzseiVVIIEKXqYTaqzusP7aIxeP7BKhQMUbXIRbi1fGbCNDJHTyO8vmASCa7+3FzRzsGxljeSl3iiBwxCmkhF0jbehQOifB1kQPNfn2rSPnjLxEr1kccfWlUvMJmyrCw17pWxEb20lqt9/tJKPv5JB/75z+eUKzxNXzSAIs+ecwkh9xHaemQP6vjpMmr8wmR+fIn41iHZOxPJMLXeSSmxcKiZ6nwjZCe7R7XSutP2KbXEnYTgSOqiL2j3nJpbuwgJBNs9Har+1GNyQxKaR293pfHWAs0VPNJq56TQgOUbUjU3M69Trz3ygk3sfTlmNBq5feZgJwCiZMI8Zy2po4dMj4Z3PziA3CGgUNQjqcFK4bnYgV1P1Jw0znV6flw7Y1rteMVp+iBFf2oM+T5+1AAvGXy/1dj/kA5Soxk7BEVdA11ib1ACBfsbvOPOnytXtni+MvQ/zPAv98JaukTb2Z4IIGV/cNWBDHYoeDD8NXulHxHwn5UQ6TE0Ats2VoSQF5jHMdLustSZiSeILWDolrxp3meB1AMBEfZlMbW/8YHMdRduLZwqTmeATsGdYesG5+DNzHhyzxPIzYL28qhKGNCxLCskM+lHX8FsO4qIQGR1TEaXQHfAQsINdGuSg4xahcm8KZZIANuw5bIZ2lh2ouRr9cPpWn5yLWExi7hr4H//Hd7vf4AUbIlQNPyoo6C7s03Iln0R6uWkC5AEF9JKBAagR6r3RGosE1Xoae8+syS1HHNGnfxA72mG+UPBw+DZJn3M3xD2n7CUFuu5xJLA5I5VytdcGWZahlhVIVBQxVBxj1Wl34+HO/MATV3ypUHHFfe3xN53dYb9PxLp7PRF0vQaP1GJo9+tjwjDfLQH49rcZjwKshDOC7aiQpfuCSTPucMQ0YYP7YVKigP22rTepvuS5S7Y6Jkf9WIbwyMoVJ4qoCjGc0P1RJlENNgWExKf+diHvkEl55nE1PCweV8LQONvKdYBBJ9QCkdXdX8rsJ1QAEoEwxZFLG/7I7HzwzG/75pMBFbiLACMCRu4iXDqWZhtr4ndNAgpOfvGya32U2hN0jKZBhFyHjwb6lPoWsZiMWsxu1eEMwDIdUPs09NqK/GOKpYLXPK8FYE8gAlvwrZ9RGMBVdrcoJ5P1eHHhixdcG2UIl3tsnEfZfMIW41iQqPGnvODUoLsqvidVMl7HrHV1wVO+fuPhky684OsLzmmTm4qbmdqImrz2EArW/LePiaYG3bndmtht50VABGAYEM8gZBDmac9b5TlSkSqoSupvWvhjdzSsTdN/1t7ki6E/isr0rp0Oyw9PEIsspYXCfOAxtIo+yghUol5RZ1MxA3r0vnrHiHotPjzM58983zjTxADqZDckYY4X/JJHOv2sGPuyaQ+SMqiPrlfQD16BxX97SkZWWj0J+bzKZql8T637cW4KVZOwBxFvNK/0tV2gsEzOpnn7fn2bmM0WugdndfeaGIrtDJ0vtEk8Ex5VFcQ+eNjaMUc3nNRlt+Frxqn9bdmFVtg4e7JgzNBcBKI2xSIdRugjImiAf8mlcNuKgJzomiy6UAJe7Fw+pOzdo5xzrL8TvT0rY3kjaILfE4/rGvGgZrOGeNiskXd8DkqmnaTOaLRohXWAAHLu994xepIJIbDNf5eva13LWW7KOyPpXEnyd2j0DSEegm92cjhpQbIfBb9EjcMY/WTfOSDt2vGgTepIeNGN+4L/3NPY7diIxBgPOQ6CRORlI7u3WGl/axE1zDPjiCYVt7Wh76A63NrlUY/bYMY7kOvrQO2iTkTuU8dnMR9CG2DJ2e+dxq7CZHLIUdo60S1tPxNcQ0k8QqCaCde4EasgoPqSowiVyotrU3YLFcFyOvOYOfCyWcUtaOfdaoweOt/olJi1uyPEH5cAPeNcUCsK3tdTaJtjTZ71mBCnoOcIryyn8QHiEM6NWvFVzMxQeeRoFqXeMJmwPJj34/dCTMW/86aBd0RBiY8QQJDtlhrR9f0+Bl+m8ncw7NpstGAgz27kPlz3ei9MI1Dcw4n5mdJTAhIV9HjnH/4r8HRSbgrbqnFeQ6i0Y1dWCBitD5hp7NUjn8TK3TsN/1gt8XTdF/lQNL1c0gdbSpcQB1UQeWtV8dNMheOQfRui2ACU4CBQrvSHVEdva+JMAsv37ghPyv/IvXGuxV0M2WaYW7jLfsn3UXh7lmHpokwWPFQAZTi6c2AKbawVGx3uU/J0mo0Pz+a7KtPq6fwg+Md5OeYKOy9qwrEyXDMitleIGzWhUelTlZ+SJDnTN1eMcsZjQGTbSve1pe43owWGIhJ1AXS8NfKxtZLdkAYG0w1oecD6lBSh0i0sp+odUWTA1g37MmQCRKQAN7FesVnM3TmuF7V5xR5Y2pwAUcEqVVYlTQfNAh1+cSdkJF4XZnp4DqSCCNDd8hyhJeXCnvivsuE+zMe22hUrrtdELPn/qtFT4z+kqIAlPC8hrsxM3yadeoA+JJvGVX5skhe/wz1PaXBjwtHZKvvDtR6SElthLspf5OVc3VkkwkuLmpa2R+pFMTZwsshvVVWvoitX7piwjLnHsXPi+jzzYBPLRkbX02dlc8IZbyS1//ADu/gFifDX381EAeIN3pI1CZldT7XxeBQ6jqs2wtbXC2eYxgS2PvuAO+fyPhnBjX7igBO3aNdSXCKMp79+7QVWqd8bQh66MSzjNX+9y5K50OY7OwC4PkYNsX/uxLMZUUzuFW8tAB1l/qw5lZUB0VXY+xFjJ6/5xFnu8uTUUAwsHZhYcYsqMOobKZfCZlIDQieZI3zVbtPHL7Xg5zSMY+gzqIqTqZGruZ90vJees4q39o512CJFFzEHbIjSiiIBXUYsPoFcPoNlprZg6cVFXpw66fjAZhrfTkB8OcSSZTgWQJPCphzRDI1z/Xsf6J59/EVMvZk2zTFGZSuRP+rFrS3PUVilhwhyU8jMRgE6EDXzVw8lfbu64BXO1q1KxpmZjjFA7mO04Hu2Gx7047HhO7Qwd060J4OvcvW6q60PUG56QZob8Omb5f1mF4DYSNwQloHjj14NbXm+wHuSrW+LMzzt1TWD1gD6DO1Li7Nn/eao7d4dFhkUXwjEFLGKJNkepDk9Js0cnGipnYl1e0mfFLeCBYZI/LbklcRbY5PslSHeM4PoJUX/kkbj2MCqF5/P+Sc06Tf2enUmjkcVGZpAsAdRHgi/18/u6+pyXXRzvmql4O5C20RrR+1Q5fH8iPIu1s/YuzZVEaleXAmEivX8Kpq4yXp+33vOu+L2p/Tl1LN7YA1URvpfjehQ39oXLE9QLJwwbnar2kURDEwrHFqJ1D+Wj0seSxS3HXsi+Ps2WKSHaacnSo3U5odK+g/WmRYTi0qhZmfdOrjoJGnZsXzY5scyrVa9FlifYxX02ZZv4sCjo2lf9KQOCdmCrnoO/3nzsYSVsPGXaAuMvw/72W71AjH7fisGcfCEmoDqo8lwHOy9o8paDu7PJRuI7nFzkdfkJTEgNk9i4gZBoyv2LJa2R/gTo0NCATTNIkdyWXhB+Ws72t4KiKuFjtwCRTUW8woTDToe3xX7Q41SfDar0X0jO+8kbVp14ND6gUV8hY0VP9mJEEk77RmxTYUox4jf7qx+EySho+6elGkpY7yfK6e0ZKjypCEJTw58ZjRc5kGIMQC301xUy0PkXv+Eq3TVzxnGj5W4A0afOcr8SC5ZqbAHkCRUAQKkxoK9vCyvmXUvIDyt4k/aQwqyx8ZIaBcNGATEKbzdA3kD6wVRDvMVjSdx9JTTLKpjLmGz7bSGvtj3WiDijbpOlq7M00XzluiDhtBPpbvwPVyQXP4KVdF3mxCjAYy7uxn5Uas/+w0WJetkbE+hogXTrwb1qyfEWzTJOB5OkyUmdeIeL2qOaOYIMzaZ3MuH8DPNY3UeQBqCre+lHKtbdpnbzNW0arWTZpVcPSL+shqgXrtQAoaRxrvxp8sMv/q9waLlnhONvg5y+WE/N/a+hWdQHWJ9IQOc7w7G59YJTQZ0R/de0kVB9idpZwO0+WAR8HAQWyLEJayXCl2ZlQIqzs7w7mhig9s6fh62LlIpWVJOC3OKvcVKU5HBXP0KOc2fNPNM2Q8czkGkbC+v7N4PtF7CuvLgspOoalA4gRN5HX+fFJge4rW2Jp0XiHmfA0p/M0tq4NKGRfklBG7YoX94GGx7Vvw27ZIkHA/LyKDXUpp8O4+NwKkW6TEpYjpfS/yjH6wgQw9nmMiEhxJSvergOfdbpxHRnjRKlKx1PpEgHFn7gPnJvNWDmQfHpPDGFp1CyPklpMtyKHqJ9sFnp48iYRu4k0lCWbZY+tPvmrdQHQd5+70p/xmTYhHzBm/JALufXH+UWpliObJGbYDmKNtvs3+rcnFyZQbvzLL6mggZXjmWV6FPSe1ZPmcNSUurJJ+1+f66xkdh2i8D7s9kycmyu2NRBLoSyIa1hk/2q2c93hijEfUk0smeZTw6pNBknuqufLPmYude1nAoxQqW9qwlZ9RsL0biY+xj3aX9Al9AX2aLUMPsLps+PUU49uLQGoeqm6QdaqE2BCw7PAgIZlMRDncTeXJvsDqiC188KToUS/q1w85r3UUtwp2ROWeI/4PhaeHiwoy1t1+ISMTIkunCzUf+r1J1d9ek6hfi/Hn/yddG+lx96HuP66CC2fEhvjWqTGBBuqPctR51uLFPVXAtHUNCeaxe/9qfj24QqEEO6lpoqZJssero6AAiU4x6KI0HJ0Ta623T7vKkSfDci0ahOESespSMcBUIawLefFiTQ2iTQ2V20jdhMmWj+yR5LX4ph+DZofQ9PaEhxwivpuFZsVgsX3KJZmDmcCTY+ziwBOBzr7napyw0nRRL/Yc+ykXdEBX7hJSvRWWsSc9u/uJqoefCGq292Hu8oCh0lVr7hn3OyqJY/aOnY8QdRZj6ZifRe4vFmx6JIPVPDmZFcNDH7mTBBi3UC6uVpmB5AQk5ELXagdFHsZ+6jK3blCbDWSc0nDaRP4rVlK3f5cgwbq8Amiitis7FZ9b0sqyHZWRyOs8omxlxnfC2vp1uV1JVwbxT7Iz/vhYkER36ADY0Hv+vUctqTAVrcC8FM2Ocj4HxKJNMdY9l30KzrK3LJ2u6Lwwxp5Z9z9ldYSkJ7Wj5xsXDXqO62LvEzYkXWFWkOLYzoC3SkgcVK/xS0jsO3BMjeJK+7in2rWw8M17ECsddI8fQOImucE/Jc5RCqhsVLga4JHTtOOFeZ6F3vgborzv+7s1i7uHJIGFxLr8HxUg9Bj81Hl//nz4vcFONvCOXyOfDPbpQfVHtBZzm+zKDjjet+gWhUw5ugvzzMbnECWgi/Vq3ep4ZZpSFFqtGncFusTBXoHIanfWLnR7Ety4/smGU8/lTS22ozKuKDAmmSyaOiWsLYBHQZBdwnV8Z7lWyqXtlVxZFkehVOsDE3U6Ggo32b/gyKCk6eUsNX6UbxDZFNPYM81DLJP53u4/WXBXbTffgUpaKJTMeLG4tJ/sU5H9hVd3yPPiNrcee3w3tHMiwIdya3DVRvu40So9vfVxU72b0BWpxFxujn/cXLyGWaOfRxwlgmrEdlBxd7fXL8iCxE9nm1jLr3r2k1B/XQE9MBq1SMv1Iiukk0hxrXus4+d0r1gB08MSjvcZsVOO8ST1VH/ow58B0IdvAokBOKdT24jRLV/W9crygGyv/oVF/uZbuKKFQ5Ll8vBcPOZ3VMVR3nEWwvQOc97p7WOrkSK/0hrk4LFkShA+vI1C+6CFuETjNctlmoj8z3RvDGoMJO9BMyriK+swb0Ma0ClXEwscd0+8JXNr8lJkfH+WQhhTk3sehon8q5FebTNLJXiuIwksFJmp/oq6bQn67WUgBy+S1oM9x6mFJ+H+Uz+7ap/sazs1CFIxmdFVWfhkrtFtl1H4bc9PjjshPvifHr5o2exx5vr+uygO7MvSpSHXCEh44De6UyWWqN1PQA57aWdHluaQhLaSGBej219JMp5Kw8s4ZECDXXyPBMWWvBxwjeYmfeCexdsffnQ8xNlp7/BoP7iBTxjG2tSiETKqpG6xq0t4BLeVy7/Ygp/0qjyju0L4nBt59dTlxWnZfHDCKvUcWwgE/Cd8JSaCXqVY951im2U0llMiDxdi+mK7gpsz+KZt3jpPv7l+U/u5RMvYjVzTR7iWtSqSaBqD2TgwmUc0J9BR+3O4ZTPrHL5juOArLyqmTV78axJL9l/GKEaADA2LAWvedrz4wW5/4K3Zcd2mjYYHZmgL+guSq/rCvIq3BQA06CuAxvSDhbpFyI7J931nSQXaR2gkxxMmj4jlFvTtDZxT9znKwc2tv2ePrys89wSCCOlm3+khT1yI1iByMNaDxhss9xkYlm+mD5c+9jJ4KWcS+q8PkQwbLkjvhNRGLsQq4lPZwtyy0xtk1m++Y2SipLG9S7RwqFsuJyPrHqV0EIZ+JmzJBMzRylq/ySFj/hVYFAI9K2mQJbltipiDWT9AbXuspnH4jshD86TDBdsWlYx0l8zAw6Q6DKGLRP3GE2FJSaZpAZLbwHWJ1CbfPmXaGRK1u8oud+ksoXkc/j8P/VCc1WtTTR/oHbg5+z+gBtFYQPMdqTi5m+ks7YrT/VU1Z5NOB0KT9m8oCGlG/rF91Euw4Y5MaTKfcebtBrWc0M3/8+HnIX/w7ZUl96S0RM/RFV5bUU97a2++8tTuC4rQkt8qs8H2gBLvlKOQGI8mXGcHXPANIM5G9dzcr41y+6h+iuWv/N8r7HzN03nBFzZaRNxDovRM0IF2DBDT2e3jTUTm/E9gaBU3TVRwXOuJAeWCP3sxyQclmXvifb9gVRXusNEMVDPC9epaewoYgwxLn62mLweEnIpggFIyKGt2TF39+TjCaS//KjkFxxVi2Rl3VkiIaVVyj1+uKegq54cHG2NdcXpmGOz7VqmP+Ick1zOUnnAYd2QCLT9loLLV14V0fM53PIHZfUP22tc9/TVySxPKGCPjcewuUHOrrgTApKZfKmvWCVbBdo0abF/wCW/Ghynhs9ZeYHYBOgAdhDvlBJIgyM+OHsbFv8ajL64uiYlABb/ExKPB6yichf60Ib24r5fjjVxoWVLInMyTPagZ+TYG2Zrs0bnZKk+pkSuRuK86s56W0PMeyNuIVPOTEyOrNKn5yAl6IXBbsAGsXgdL9ERAvXg3di01DIPHHrNtAfI0MYtfmUlsgJXMMoo0NN+pTXobM9A4rBsU9/CjTtjCy8d3xZWIBmlG1Pkzylrg8QSdaB0MHMufXWuxHW9eyCIyChSDGkxOyTTMIHQUVoAvchAICCgfwjgcjrrQ2rPJhWoWTbviOwttbmcD0Y1VQQ1JD6sQKyrat2t53oPAsR4k+wa8kcIzITY7Yqgy4o+7UkyLMf63We+kZKcpbZj+x1uFgzqAvf4kfp5KuT1LemP3MLpF9hzdimxSPu5JvXZdp3cduKsXyztxOLvWiEuYj74yNZtwtyVoz8IKdeu/eOW1otIib9+dUh4K20VBWCfsW93kOWWXmQ69PfuRqZYAsccOSauihdSO2nA2TWEWR61SlZau7C2L8ljnOpk/9JqpIbTh7K8e/7HM0lm9sAyZ6kSrFu/2zJP34gUmP+/jSnJz9Ni6YrK6gJr6efaTFDoPc7j0nvpM7KMKle4ZZH1QgjWe30uqM37xZ2xN1YSvfHneebGAd6MLdSD/5oVFO8dbEiclAI+NXLxzg6uqhQZvwNCGVh5J/sxQiuFfldBqlmiiH0ysckuS16PRs2dNyaUTxNDrWssV8Lt0zw7Ifkd29mSYqCh51iOhPMcn8aHiBzCIAa0i+jlw1ZV0DjnauNtK1wxFpRrCiw7XsIUleu/TL3gELQpHw4mWBwRwe8OGhLvSXd2bmUib6AOUzV7iEMS9TdkvsuYjv0oMD0muMSd1TihFcumNDMRE6/9qENI4hNzWdBVfjT7ffDJyQx9LVF8gY7GWxShF4tY9SyIvQ3bQgqzjsv13dxH5hbblzZGW/7kOKJIrkzTnlvUAfwjAbekgGNiW/vgWCFO0CsTDzw0TP2BWk/9u3ZAO/fnNEwgYpB36p6HQAiUcYWmLFwgPzj3bl9pLEDeIT3vqPmTdBTiiGtEYoo4jPpkmQ2HHvvmQujlZvLOrS6dzCXDoTGF0E76VEJ8wbwUDaMolxge27j5SdTvAVTu5hI2MjH3yBrYEwQx6Xn/5OWGrf3/gtvD2zIHxFsVN7r+AJKxC6NTaJ0+j1mbk5QCth5gJbOFaltLgnTkxJpfVYQfN0BEicWlBV86nhh3ZW4t3HQM/XpbUOajmOSVfdArxSMD9oAofOgHQCvxfxcnTkxAUHAFoXSfJNTJb5fBGfBAJvEpDNQgyAQcTjbZ6uQh4vRfCZwKH97RhONS0vcMut9REWXcaHkxfKQRLm0lz71MpromQK+/fsX+HngCTnSnh4lKPZ7OF6xZXT1ZQeC1QvIyjKCHs7RopUelHFrk84gmXESqdbY3ziOMbMrhoCuILJcnTrEPJaLjTQc4HHHl+5SVA/Kve1HWKCj39Fb7e55S7FgPucIab631OFrB+8+OdttCaNb8H4RIGMR9QVfQFpdh1RLSlzZ6EhVhBCxXvsLjgAWAjPLV+8ik3GSDtxyhMxf+CKd8WgYpXtUNCu6DKUo6/P56U9lVZGYR3cr0KuK1seBqg/2woPDwb7akByXdCNBaS+EYY763QnEiNlGI77+W42KjNtlcSGe6Yb03p3IhH7SMBloiVLK3k3Uz5e7f5EKxaix4gs4wRtk/b0Sr66rKEAvKpm1kxF2sTLhS7IMSspIfsSV8z3pUAcKSLJrijVMXJQVTryp9Oi7UPzlXPvwiNpF8u/0nXm9P/Ufg37x+cJqKCC0Q5AgbtzGPsb9ulJ1TNNqn951XtRk6Jz+A2cHEbFmPCZZ5mn9NlBL6Zt0xsU3ZsFP+B3aW0WqiH53lLzWBkJ3SX2y95i9p6Oww7UGP4B6Zf2HwQoqss+3Nh4L6U1T7N2MyU9wjxvT3sPIiePDlEQ0uIygd1Ag/h4L9hsBql17q4KMidq4OdyhlcJ6AbhOtvcrBFZ8Zbw5teaMso/QwgmiMTrzmPxhwpzS5juQG7fR+0rO0FTIdVSI36E47WTa59WG/4LM/G9dHn41R3ZjcnQI+DRiaanJNeMUAxriP4KiaLJTE+n0TLOfcxowI6TN7y4Tye5obdGaKmCcfAKbg8bt/uv9Jp0jQ4G37N28BZC/bfAwCN2/+S/aq3py20gDjirD9TAiFwT9PieSWaQF5RKV20Uo8Qv/2D8Vl9m9o9eF2Dv3U17X2DpWOOZIot1cgnBBA+udUOOCEEFU7zhtW4Jico76j6Fd++U6XMYj3UaCYMlHLcDN9yoN0yQPs79VWQ6p1YHwzUGDLzH0LMDY9XKcfvDwFH9/fnDKyQDlX1xtzYQ2FJkt6CrICH+EG1gIwtDLggd67AFMDJUsacbRmy4xE1wD1ZKG3cLUKVKd2PRRCyBBK3iWBZZ7KCB2x8fegElZdIoh7E1e2zzLUfAgX7Ok07mZC66IHbuH0SBXTPf43dCPJo10Zc+YoWme3zQiL0Ln0YQZT3kWwNJcCWinCkGiH1MbM9ALgrt///rE58+iPmCSgxxaQiP5QHQi0Dpz6BH496WZ8HVu4O+dO2WoGRQa0lTtBDcHeAoGq1Vr76jg9NMBG13gkrwJovkfmDjyjN4f8lFNj1K8D9kDYsH8RiNDbXGxZ7AeYMZ8UDHQk9HZSL0Ebq8btC8tJ8FrKNinMrwunY3BKYMRSJKfriShXHGT5CezgKwUnQeU+glPLRz9MqDYuw4Vz/NkgqDlCKNxn+LhWgkTPnivWu+FWxZpvk1IPdNlvZX6j54o1pT0Djh8rPQmflReEAsy3G+VEjKpRs9rHFoVz3Z+ImP5KA/JqaBEFQLm5tJl6iE+e2lPy3/3lhMDn9ak8hhmLOx163MYmlblMYSCQ42pspP0isqf5OghT+k2Lf6dFNKK9urnlViJkNfxcE/kgeOZgDpD96419VgTmjiSJt+GrSvOgLVCA3g1BVsc9XEoycqnOZw9PUPD0ITLpS857HX1IvruzgPrvDpj6h0jPDdkLJDfL8P1SqzclkM/jS5OT6rHYePcmbWcnpurQzHOrEzEalgALdzJVeF9Lt+Emk8m0hKbNWOYBpwuDzoJ36a7k4ZLtr0UzEsQqW7FHVbhgvNrmpo3bPugT4Xe4VrG+4OrmJ62DcC+0p9vRg8LtaxcTmazBv1Ha23oi5PBiK49elawnoBy2+9Yce8LOecXQVH0L33GfhcTTzknFCNr0Tob8/8tHzDJFmCwNgX4pSNPlUTPsu/MKzpvkTX2ZYIfib4HqFUnmUpFoOFN4lgwuPqRmL21Rdu4HI8kG537B/TDNi8XWd5qH+wG28otwlZiIXnPvPxRjFx+cOcPHgLzZTvYLwClYVs42Jta+VhsevqF1TGRZ5/SuiffdzaCNwSu9FVS2Ont4NjNSRD18cqPHkfLMuRxV63yqFKxDWS9rFaIP5SVxPfk0fkEAY7e+m+ivuqsBBGEkSaPjFIKRGmFGvaoiyj8pbbsHPVGArqlwDKLy6kgxIpOoUYjxFpf4OKhLEVZ2Jid56C/5J7udxukD0Fi8wbCiaEiSUwAAWHhpApAyzTdaDiDj+VbGi4eCCLNmAEbkIOyW2KW7/XOGWmWvup0QZe5s/mPG2rd/fOyeP7KLTO6gQYqZj4MljHF5rjNU98TXYnGQBDOSKXmb7z0QQwenAsmQJMrVNKsyeCjFH5FgLS4HykY0pmN5PWFXgEiRP220hv5DAwFWinhdEt2+0+kcWKTLrBplOEVZyiLZxw9Kgyk+FDA4pqFNPOy7EZA0CldtrNmLId5diBckv5SmEAq/upwilsH67+5jwp7ufNZLdCB+wHTtYFTwJy3fkENeNhzouN2rUpl1VbDRsZOqtcfS1Vqh91vqmaQg725GpeGq+0b8X+8tN7ctjYg7vORAdT8PoowYG4y+BUh9GlVkGn8n6aP5iku2G3/cGY9mwm6JAvnELPi9gwrdisIjTK/2CbvN/xmS6vnIKh3x6gteWh1eB0xnStIc8Zqnqu/7sH4S7/xfa1g6inth+SrBgWy2B8fPesNvqi06XfgqPSR8ym56b74iMW2xZoAqhMDfNKxBe4OnFXX8EtVLLTd1nOk+EvN4UDS8g0HIBfWPA0uN7vEEhsZr6ON9HtIpcQe808IAufyijbc1oriNsQ+MASYMOBBkfa0JXpg28thPN9W55vVRtp6x0oF3tH6mTEdOcFai4kStnQuuUWcHopeTyWKl3dgx6AcjYPtrbuj7VByXppKmpQzEify+qXgz07+8L55iPgcb+ShkdMjSElFoRscpGYiPCArKC4M/RbCxYx/weQXFdfRiDNzFHJPmm4sD0M410C9rM4/i6zIlxKgdE9FdfoaMKoMWYo1ZQJkgzyZ9qidMqFxj6UpB2GPKi4ecENUE07pHb/v7nBsXZaMml+wDLIxRGqXEjKXwHMrWMLJIb6dLb0bCv/5U3h4hTKb6+ziTsCFsOw/0C7heWErQwDGTOaKNeyEcBW1Pc5jg7Mi+B1g/gMZy3+QOR46E02apsGX3RRUHjWqu66goIYCuzRdbXAjw1AqQUrWqgPjKsykAZCvNNGKYnkoRCTHnDbmdGkyfbHVicGM+CmqgQnCd1OTqr7ohgRqvHTtUogyhp/KqNXKELhRbVnWTji5dacpP+C91hBvmojMmmJqIaUguYu25QXrAebOCpVrHzNgZ/dgjMHgj2aeDl4Y/6PO6OdZ4vW3QxSD+wpCsIs3/n5FSXjYRfm/ttZDMT7sIMRG56rPQrrGwuDmwXd6C22L/Gcg6nobaZdnEF9Ty4oTcoxgxs28GI9zAFfohy7SO9vqmISJ31ssyjKT3OOK3JGbb+dp3/MdWAPmSwWkuqC4wKIEFX96lP/O+yT2q5YW16N1tkbHRFtJHYa5ZT4ZPIeLO0WEhaLhGNO++XAb6m6M/n0ycOvV3XoYXROoh7qcTJxOC66uaufo3DZUqItwrR2XNUA3OWxMTjoJuGd5/IAj3PAUQkegsVPhgNC7I0OPgWRIUsF8Edk/oFrg9jGhdD5ag1tzfduEKkzgV2n2QQVQZWvlEqsat1k4ihOcn94e2aS1QJNpiXaSuE+soDJtR0Z1QbLLfVFGakima9dTj9avAdtC9aN+4yhEQP0D0MNHGDd43NB6e0dBvTnkqxqcBN0kNeuuJIV7USRfepn/9HC2d7Yr8IMRsd6ik3bNpAUQ8KnZyQxG85qBQ31x6bfuTedNWnsDu/Grh4KgnLKxsXzTx1NvmUae4o2n0U+QBYsmTbnkblT1oCJsoRoxM6TO3N0gfUfXn//QX2qKahSFt70psqGOZNpCqi41CTnPZ8myIp3LPWxZEVMNYiCSx90JYWeBb7xBZpkejFfqpPwt+CTxTIWqS32wcfvrigXEPbIqPBikv4spqGfpdZv/Q6OP/fX5tSOAarUWkC2ILG2hncGEAJCMpKu4HWJyveYd264up01oOQE80b36vs5Ue4U+J+qGwiGbl/U4ZZ908NvGARlYCGCDfT63kgvwyKx8n2ojAGm7Xm1B9nG+BUUL29y93SjtWILO4+IlPnXn9QWVwOIibmurOl4oJ70AYz8BaIuH7xRTQ/gEx8cnicj3tpFZ3zuphxIri31jqvnQ2wlvRd5TY2/lWmhBkFGtd6VhCJ50tP1E/yJNF9riQdvUgtDJ3OGk1BmoOmhFRU2fiUldXvI9iugWBqIzMN0ZQDrv/aA3rlMhZszUDLsHsmRY5zDjE9gelGECYd04njI/c/3GukIjNYZ8GbIDsj0RIRdG/ELAKpc3ZGbTy0mFWk8gd97Br8jQsX/3Y6RbW9vkDyi+zQPQYhLtE+vXDR33HHOK/C+nprgySgrXik6hjL4z9Q13ww7xzoZTDcejPHOx/xh061MXiWWyc410CTMMEuTxvhn0kW8THv261FPZm4F2BvtmdNdMMTi4bVWvDj3A5f4crrPrnxEWJ41ouLln2dAydZXSKs9LBOp++ASkMpkJlHghmWPLnI8xwjiQfFdiHbgH02vNnxs797b1BhwPCXj0COEdtNfXmTbj3SwRs4+7YBXtmRmiQCyib/BADduEPyOs+Ih2EADcy6X1eLCL0hbgrp9eVYWg7Qy3Gml2L0k9DUnSFVE4YN1BPy5GYm4ja8N0SDd0dc5KMxJUenF23zmSV/qLTqced2siyDI2Qd4wOMZcf65JAiNiaJpjbuJ2n++k8yQ3WjV+m+kQ5aPZofC62gXckXIvpHor1rJE7kEu5ZM7z8anyqR+z6tv0VrNMGqWd19f6yTiToGjR8TQv1AbKLbZwu9AoZMhrTpmRxRBezzRaSVlUh6f8347SjDO1jzm6SMNHanUSY20DJwIcNH4ugGAFwTLCAll5TI6kwbHhYNCvUQvWuQN8z8ireIMTTFb+3Nq1JxiFTjRetiTjmTnf8SziTjxV7ZoaqXtWTBzGHAN421AwMG115FyGplJ0Mh+RB12XBTDKT60jVu+hBk6EA2++2Y2rvXfc1OTy0X27LpSDXtRhFGXLLLYbXhaFTLVle/brboE+I3bCT//hqUCoSOXrkF5VRYYuzwKbtBalYqHpPlMycQjsOuJhljlyuZIdfDzCXBbBGsrOasDlksZFoEwyEqAtQ5sEKomXAQ6UUsvhtusCdh+ufAYNsPRjLsU90CSDgpNAL+70LYAcyfzd2R0PGgFpEzF7rdnON5ES8fFkGo0pC+LpyqcItKviozmUJqeXJSJuL1xlhlUiWcELDPxQROc2Tv6KX73MyUOKJ1a3CFCOvWcRBtB3+wCLLkebLcIK0SmbsCJEh/83M5JXVfyBUws8msBOC9DyoRnHslsLwT9MARbDmMRJO1UQgdOqXfhHTaHTY3nH98dxa9HmN0xUYmeiY/xmOFEPsXO5+mqDCT0ev4/QAiF52tcyXvCb1ZQ6S1u723RLXcH44Pnj/PLGQyn2tKalFwoL8L30ziBBpwOuRWegIY0ngpNtZzxsOPZSgYIw2yLUS1BCmqZ/zIWJCSft5RDkgwcoCUcxf7ifAsw0vy+5omJBjOrACNyZkssmE/hA9+mug2tcn1lMQQ5b4DyuhXK1QMg9C1/erUGtMaxg7rjgL+mn2jQQLsOsnR+SdzSjqO+QhjUeoTUK5gBYzUUPPMKaJFeg3X740eCFACMJcLDeANxmOsHHZ0slRC+1pzW4wj2F7Piwr+7U4G+oRnHLfBiS72wpvPUQK88mdv8A85tzehPg7CRGtyyk/n1YzxBsmre0o2p2WLCCuzNhDpWjJUkG4MFMsMSDImTro6E/3pcGY4zHmuPVIpof41IeP/lc1Iyi6udVBtsAlCUEDQuCrpqCCVbXRH0APxiQRVIs/QfAMN4TR/YzUgLwsBtQ1JaECRsAPC/qMXgkUhFR70pxAdTyFK/BZ9W1LwiHW602x483tQ+mAEaYm6d2KGn1nwqqz94nSOD5FlQhDqQ0ABMs0CI7g7Oa9pOQOKDS0DiNSzU+b5BL0MllgvyKbe3pQ/5VekeSoZaXKsn9+dCS4Uh0CehTnG2P14iuia/p94lhXGb5lM4FHAxuPCGXpyPR/nLEsYWCW+tdBHAp823dQrc8GDI1JZ60q6bYaXEMWxDvf4cIG6Qmr58TT3VvJ/jkgIurgCL8rXXV+N6eDnaHHpqTs/lF3zHOBFv6waGnfZ0aYKrKa17YPXotTIA9dRZUd6UMW5OeAZJgyaRguZw6ncI/dQrdpN66PlSXG19unbSf2yq5N+LV5H54p0mh7VBFAggoo52ZvNphJxxUhaWJex5JltH3kXhzO7yzDQWJKAMUPzLAzesEIa6lXx1MP8d1HBegQmGh+d8qs5IhCG//bMDhFYRVYRMvLzPcMYMs4R9iOxhzHfgnPfwjd0crsCoI4f7VptXPCpnyY+ctg+drBzC0K8bEDcFCU9CRUWsR3J8ZNGUC9vKLaNQEXcD4IFAMTgtSAsKFO+NKyppEoNAw4p8pR5nRYlRgLDzSR0Fu/otsJ7tBLLMlpLYMtcGCIyxOm7HvAmEYXw1WMAMPDcxKhC062V8kvf0nd+Ug33um2NfR4MajrX/z6W7PgMZjXw2LWibnl8oX7FHLFlwcpE8foDtYsiWL3wd4DHkloc2l5yqiJAtbOgUion9JHgF0wkpNNY/IZOSjawUUxhJm2ZHc2xm0BeqsD8/Lceh+JfFDLdUQuM5XZ2EZBZHCInBkZnfBy/uudH2U9u50GO23pZri1o8fMh73OQQRAgZCmF/u6MKqUDryD5IH8ABe6rZVHG368Fi2petILHWn/RikKa1jXkXKANo+/YW9Y3yIQeBU4rM3xieaBq5PBAx7wYMs+7u4zPFUe4HXTvvUYVkjJW66kSxi8aPcK4T25iy3FSGgsKHMWGDVFK83k5jEbnWKfpj08NKmHoCt5VXwxMs24DpZhO5jZIpK7Dr7+fU77tbSkh+MfvOVPaqLJavl8tuj6PoS4Gy/SA2tFcJlThsWzKI7H3u3bxKBEpBnKBn5w6rEYs2yZJ/hmCiTSt/voyi3CSBlffmbPRzoZhw9JLS1xRcbkeLabeQrp9NaajftbAm+ClBqYBlIdGC6NBpQJTrsRKL7qP6G/91ApYq+oWkK2bnZdo6Whbw8Y3kgSrpFuGbEPzCmOkxIpHRoYKuQnGerAxAbHn0CgIkAnkbHTVWXbf9NtDtdnwPXoDoRaqCuLePwhMqXq4UEPtsHwYXM+luOuitVIYeBvyakFCyjYYfzTIX5aRmCt+bcQC3ypew+DZorwsKY4a1Ipz1nWVO54VM090CGTp55dqL/ObUCbGXyBg7/xlERDe7YNpVYRrCXwcnZ3k8UztIj1QfYp4SooREAEzNeqyCsHP0qs2Pro6jIk91LDoTNHAi+OUuC6NLWHfEqm8WDscL9gXv+ua3ZdbSvPJpl9g3qrxdxMqLRdnL3Q/+TRIyVYEF9wn5G82iHVFjlouofShJvUkcVkX+7jVcZoEyTTkeKU1n6uw0gR2zBMxEgF3XfqvVKXQ4gijC8DB+NCy6E3WXlcKAc+AbC4JWrUsl0liVeGdZrrAJaVtOmhHrVrhtE0UenAY7wVdyoUbm7dv9aU0hBeex/fP+bcupdc0idgu99ueO7o+/dKOCvvOIz1giu9C1woxzxZP4oI8cHwKIN/6W7PFu9t18Z9yc6RIlQHPjIJQLxIM7CrBnAe1Ok1cxlMXG/7mDNvRFGT85MHnPIrvHLZdbiLBVNeaHfVuj+Br/AnJc+v6Qb10dWpW6xe8U3rB7t/i0G1xrMhz0Yw6FAZZyk0IzIdY3hZ1nSIn4EzRd2B2UBj8EDdWQp++1tm8jE8KD7ughBDnwelzDUxZiD5bCqslH0f/wb2rMPeazKxgzKTCRBqM6/8hHtXSLN7hvFNy83KGcrwl3AKuKT0LO5J78xjYOfm15kQ9Cf3R4Qq2HYGlfNW7AN7AF8KnlqrJrKEnhxC1jHs8BP1hy+kDgHMBkurSHVzvY/IFL3VHB/cH02fcfq5G3ZOmyhsh9WPlocrccMRZrHGtlRsh5lQtht2LIhKc7TLn0L32MVnkBg1Cm34wy9pp4t6C0w0JoybgMWDymHp282XWLzzp77F97shZe29VgC8tqrqOO6FFPmcJwJSf1fPrbCNi96zNwG7MC7YpoH1KzzhzUi83GyaAXNgJT9YnjPpOP1+ofNip6WvxlPwSpJnf8SiddB/+AuYIXhJi9H91GyNaA5n6AJ19X4GqMeinq46qXyIatsHMSsIAgWybjfV6d1o59ungqveQO/hWMOTlyKYzdnIwCcxq1zR9wcWKd7kNHHZA7AiBbIFmYwgovQZ5avtax3B0SP9+kd6Uk76+Jkq3h3j4KUcYjloZ4z2TR+RDgD9CmI9f3I80w0THrOR9PedPd1ww/b1w8tjKNFGOv5mFJhYUrn+grZGU3NH8ZyYE01KiBRqzEVY992ShVMa94RoOPMtyz5MqXD9Xu2CJnP5T8viKc5lDW4nyRuTmhndRYcF/UGqr+SJ1qK+56mPEv8zglpq3dMOdWcaza8OcODzLxPdVHFy9oP20KaJzKUC24kOsx+jFcKu0GQbZIzLu5AjtHbj2px43wkzjOnkDDE65OQFiUA8sHdxgPtaFCtFtX7+RiDg97OcZaICM3Qod05Wm5FiDLCOBbCZswFQ92LEB+C/z+rt7CzASwpUFD+Z5hzVE4UtvKk6RgfM5rCPAnGC2o6+7QawRcEmYDGN7xOhdACp82mW4GKICmrd8uDvz7aZQyBa7b7pyO+W5hB2YkNqSG0vrNre7UkdYERRPkncNsKYa4mc2P0GRxzZW1ISShmDMJepW3PeviLtd2faLPr9Z3aa1dIZdvlj096F87tXmT6uSE6+pkCAFiHUcfIcVz0lF1z95FwohZLlxD7SzjCbjswBHEVCpN4z1HuQ406mHJ7dyf11ptmLIsbC3K7y6dAyiIbkimmR93+QPhOQ6E+9wj7pLmW/pJE3CCmF65IDKJ2ps1oyztQASNTxIrB9KNHSZY7L2ZVrdIdbEnN9laCuOcYV0N4CHfdDArDKSyuuNOZ17LmlNC8AxaofUhMfNSNe5pQZZ1087b95wIkDsxAJ9PctpzB4LQyl2yACcqDrm7c66NuzRI6C1quIjHPQ4H4/u0+JUSssxDR9OcF9t2+g5x+lT74KlTeDUbOWgY5kYjOuHtvTa7RJmSmOIHk/TQ3PIBhAmP6ss6RleaBRLLo2dVtLKKHBKAz8OPBNpd0j5CBaD9ZskxOk4fEcTTbtdckGcRv+V3IIFsoDqkfreooqY3lrDU50lvu4BD1i8N6hvWGdmC1RTESIyYmo3i9QVaoaO5DucYhweHRA76sDU2spES35zf8IHeSkXOUSFLBBBXvb/RG8zkZvM2eQlA/VtbQ5B+zMhOGWe0U7UUGlKHXc8w2hIaQpQ4Q0/sm1DzPRbKuLesJ/dyczhhZ/304ASy512mfrK4UXuYjmcrgFmou/ctUvDwLc4ucNKqlOewc6YguCIp88zHRGKdgejkFVJOxCv6vWQWAu03xdESSYnc+iaseCrj5wTijZMonRJiO0cFIMeDHNaP3b+ujtY8AqN0EH16H9lWo5DdfFXjmLHnGDzIB+FxQNJV2ZF/fRhFbTBbkBHXnlH2CRUNEZZg3z4Ko3GU5/6BWp7aGFATEV615C/ljsyBHp/IXbt4/q0Goadzosx9DpUH2f0OTgn5fqF+yxCMR8195AwTMHIBh8yW4UFmEC/BctGa+Z/NoLogd9bZU1lnOfTPGoWYHe4wPB99o0wVzLh+IyD4GmYy2WSfaIzir1khx7rdUqEqWScZXrKygVzUTVg3IQICK57PLa4p3iXQFamKZ3LOcVQ5jkHHfCp168iOMQY8xgFS7VhAwv8uV8OOW2DCfwCU4ook5Uq4imMyQpYWXjSKO4jzjb9cKxHA9uwxQpdfmf2GezJ6ZuCji3ak5wcsijYtSp9zmjPpgA040xvfJQVqIV1hSf/JVOVljgij8G/9znov3QkToemLohsGyG4Ljk3JgctfE8p2EtFCqLz4johEkj1ZoOJQmWzH0gOfKfvBSvjmdi1CWmooUu+ri04958R13MwWyoTIJOSsjlSY74kbzL+sDz8VW9Li6y3SiKc/+Pf8OkLF+Nq36O5SvPx6QdnQDykSy+U+yaNKG+RCzfYhaNtFZchqr/mBo5W/IdUNo4aUoAVkD5k0j+pl6znrm8vFLaVvLXmUKegjytpACFlQolUUOmIqhThC1s5NvbZ17TeYdphcEFfCuxx9SEFEhwHPYiN5WvK90J3AAaS8beu3lbUFbsfYauC5oY85aJKlceASIg+VcqPZU3NCleakShvPXB0HWZnwsfWPgTvg+X4FuprK3US9Da6H+BS2MsxNv/9E2IiARdZPbp6n09svyArtJXIvAANcCEvqmN1fHCiAMNv56kWp7PG6nODbMULF7hP18bfte3tjwLQRYHoggmzLcu7AnlvEuvf7Jj7xGTaK9ZDpWLDAoWMKleQ1MMMooPqYWHQzEQdb9flLqkb0fnunbWk2G4Iighb2gPyrO2YAcpD9hTukDle+XPyFPEa5A0AIsYL6cPRGmrkxdLHlc+H/KEUzi7tR9KGUOBahPahpTpey+Sk225v0GrWfH6e/ay6cbwcEVp/tUOqwATgkHCHUO6ZYgzlAKIl0h8vscWwAgQ1s6YOJFgwIOXBh4zOPWRqcFA29AHt9eqlWcJ8N0+ghZDL8V7s4GP0wPxKu+uZa/wfYxl45T1xsS/M85+nNpZcgFy8y/5HX31y2FxvYtiX055hlvyt/c2gwoo2bxij57jyc9Al2tIUqIMDBgshCMYDCv7g8PObHPRss6fK/KrfRtOPfPJiV9htjU0inDh+Yd77G73l8rtuWZ1x0dIAPnULIs3N3Ctj8hKgj5Dp2/5hFHvV/djD/fBHPlSnW11kr7cMipxKEF2rdH8FDA8scU9hpIEzu7x6Z+dNbibbgE1/n5ybeitZKJHAVTTG0kGjh2hEpo6xlMZTG3KphS1MSQ0xHYyCq+q/hidpUYc9e5GuPXr7SUMZ8sKTaf3Rgwam5WPGxFdClGTKPczZjAqkYAp9WniyJBz5tL4PUlzUK80+uTe0ou0+8p2h7e2PQXZmyG3ZYctF7IE0x7wEeaUCLR5ZJ240L0tdwZTDrSe7yjd9Sz5kyLfT5YxxZ2O0n687PwfghyMEXV90mdaBkh/BXlbFL6eTbHQ23ffkUuOc5jNpgap7Ndfqwmg6VlJcRafv1936X+fMl5wQ1zfCviaAVUNlh2PGA1HqPGQ5IApEMvw1zfNtJjWEJXDi9bpxtQeoWY+EOQ89QLkAUlX3Uly7hHQZxk1FRWrV6KZVApmAIRnWnTrHyd4XKKD2IKpHfUCffcZDjKdor7ffDjIOJwEFEyNgTrRXVijg+hQGLlLeQNXDbYjByKxv1ptsQbabsXJca438N1W/5dHYUpHZ22qzzb5xPMBFKtQQsSqLxkAzEwX2jbth2YRojUOITryNvfn/3nEMyfMLyz3R4w/LvlhMebEuPb3QdXKg9lFlMqOJzV9BAvPnxX7moI4i1j0nvc8F53hATaV1AHiOs0KbBnMS0a4KUyIclOsdE15kKc/SF0kD5DZCvnK3tanJl2hx11l25fkM7FpJsjxeXj7+o33Qocw6a9ashVxAIrMv2gveT4w3WrqPTt/5LYphsSMGvoqbXTzcLjSnN3pX7DkK6GZLSK8aOYINuhpN09+/rUeC1kZuoPLVWdfo9rS2kebvpwUlSwxjiLUkFuSmlt+EuAds/3i7AisFz5iCiWMBgC07ZYkLNvr10B7pQgGZJPZgBFiJv1fuEZMqPplxOj+n1ul9RLwWHL2hrwo+mGDx9dAM/tDzePaJGXAyOFAVigGs5NtSVKF4t5IAm7wB+kes23xxXpBD47r6xfBJ2U2rNL10V5G3qAGLsVpdDE0A57XFZHmJgVwMZFMeHbpF+DGgHsax9a7ldKcstDH1qxJ4/c5lBByCCiLv19qQskHC1wo62RWon7Q4DNILaCGNjpdHCkehtU+0QBEJM+jYkMTja4EM7K61CdSpiwmQ1OT9djEc70+ArUQ3EqoAf0vTdfZAfZTB0RxbP0LChb+qCe2kXxoVEBbgqiqQkwj+bLCu6LIKuYQ9as7y7AtDTgsSb6rb1BLEJRmtnPiWo1niEnINMiiuML/xe9wuqRX0effQue8MGrmV092yWXcPQdgW/V1/8f4utM6F3tirp10+rJq9lZH85+7LLXcglpwfJaotPj8leypLjJt7i4wbNCmWAD5sZpA8mE7/MP7HmMipWZuoGpEaLHOmgxua46t4VQQ5aJE6ek7IV+xE1B322b/ndODKcRhxWTeIByTpU8tI3J02IpyV/lO8gs9yQg0pSzzxHZBxljn2AsuAuLE4MNWheBjIYXpccbhkYTdPJkucbTU3NJTZ4vtsFn3x5h0rCt56G4PWt0CEckNIOp5jAXGYxQdVlWZG72/zasEIqSdAagAS4qikt3nQhcouocH0zn2TCl9ewXrIV7LaYO9qASotXMPwYwIErTHPrF95imfGSBKs2HxlIA6BIO9eo4Gb3h25hbtZ46U6bqb+VyUaSJtcFDrkT5IlI3+HkFCW0rM7vyf3T0HhlLb7uG6nfb7jd97NAEKNuIg7jvAWFnIMPKSOtzxegykY+j3yVT78We6KrGp7ePocys0ouYFQt0sH5GmYVtmUNY83KY6SbSlGa+8Fx4uPtdT9jR541zmPm2k2G0bLK8CjI7bduTAmBT7w67QUnhklLu1zOUTiyyo1HeCcuzOO2WsCcTrah3e7RHoDhQEqPTV/g7v+jfg5ROf+inotPulp9aTfsMCP2xubaSSQGB7psKk5BIvh/Neazm+lgp/PUiqBG3+16yQkho6wa9ksE650nnh5FLqP72SnHwfXMuoecLeyX6cSjvSLa+8IXXKSZA/IqaXJ2jzzmSsnsVLv7tEk7r77GmFRqpWoTKIc0uV4EYmmgCKN9xpT4G/HXqBKIgyryfiZgaBAKtz7qU0QblwwPKDDuR0o7RpfcerLRhznJnrehfcqXFsw7Askhon4FRkKVgrLMGmbUhuTkysLdRVY06eb2HT3APAqc5tC85/dVrwQuxM0toWDCW1rW4sbdCaFrperFGuj74SmL0IHCS4s3mh8yS0FNTCJU4+5M2FoE9T7ZtKVUBMQfT4Jnvu4LN7QK10ysC+Zo5fv97a5+TNhXXE/sI2zIX6o7Xssw1JVqn/Ff76f33Hc4fqoEI4mXE3qsM4/6FMrGHq/Qcrw9F56S5dxfTApnz7G4i+JTPqbdlsFWbavygLcND1kFt9h4E47lOCpV+xmCFFvjTFQisaLFQeTBrSPWS1p1OwzCMLcge6Jwc+v0iI225ERsEIqFkxu/36UIkAyaMwaWuWwE8WXD/+ZkDjmAWjYG/YuPcIncCS/U4FZRtQjLmX9cp0HoFTvWJEHMFBN4rwelUsR9ueqa6mEa8bXqK31lEhufY6PxeLDha91Ot5jp9DzBFbBS5JcR8X5GX02kO/4Bzmohul41ReDQ6YgysKwXtStBKFu9CkEno4LMM3/ZwpseaWxnb01Cuyw4iEEJXju053qZRpvFLrpWhepGZ5ddfLL5/S1UeWVJiNLgK7r5y47FaeNCb0G8qjAYk6DOVcFgBVKRzTxeO2TEJLzSaDnArTns5oP0ABr0V6AGgdIQjVbSEVjvk5ebmSWnWKg7auI/Fb+VF4ee00DuoRaW0odGn6HMYY/hoGNpvVy1WHs2JqjjgE4TbzB3PSTx86bdmwJ6IfP2uCIS8VLST9F0QNKLCD8RwQbceEDiZYBZs9AVX+6mzzydQVyIqKTYFhZl1+MI3l4DL2qmjvUVkP58TKhPCXFRPD/hg44uB+BnKn0K56MlM79ML/79O6GWDGiC8fjPVqgwxpIzGveR+TvtIdICU6r+YhBYfqMLX/dPs3gXFk57NRInZb/UDDSx1bdXSA8bo1KrJE/5WIPqWQl167BePLwx2rETFqeGV6xaBs72ga5qaEs8IIMcjkP30qZEpkBIMe//L8wcOtyVbq480p2rd4sE5HkJ5e99qUzf/iJ/+lVrlnFSX3vVUu1ywj+bQq8cDa1LB53b77YOlaVpdE76a7SGHXfxAH8z8haP+KigWQo6x/nXEbz/SrMmNKewrkMpiwd5x/BEBcILtPSmU4n9KrV7SExPhhEUtQzNjoo+7qj08P1EfbuF6TnM1ALy/08XD9OeQSCE4AOY3E+r7g8O3R0dnO422YjDNXkNtgB1GDFxWlC9b09b6J525DRkja6yMKFKXQiQNRG1QDHbwx3QP6NxVDAeUuLsulYqFTS5XMVx1YuZFo2Zr8eYRbPvKctyHIib+Uwu0eDgsAVTawPDCRtZdSROy3Z+KQ9tELI3v0MHcsMazsEZVa6DfnBZxr5V12H5EmPP7JGBxbIdRhtMPEhZVBKJzOpCcerop1cOKXAj5wmx8ncJlKPZTJlgEcxNBMJz94U3PEnBw3LrRuEJbJsUNagFZb/s0x6++ZhFRIzbFQdqtzzXuu0/vw9gway3fO9mBYQctW34M7fewDYfwKuDaohmm6VLSCzrV1vv1UeqiT9QI7WwyY9sVMLkpzH6d+rO+nczy8wffmt0/6SQAnjEn9xeGacqcNcdfv1dODJOJ6KAZqqTRVlgladp+HiZDux7VoUpnwYjhBUgj3DsR9E/YNnVNJsPaHcvPQI2sarpJfmkdDIgmHmotg3OZ0EWlBtPMT61aaVzuiy9wIH0PdAgtMnlAffmWlLjPgmY8u1lkay1PA0pjIRnh4we7BtB0KXqIFSJgRZx2c7D1iugryD4jFhGUxHQOv4II+o/+MOAzM3OqFxWkW9c7Ly6o52VmSsIUN5AmjY9lgSy7oU5lirLds+KOb3OFTSI9hX7TM5VIaeuePcKMSD+dJwz7za//dlWZqVZ0zom99sjD53piLY6paCkD4o5zWPY7DgBLqWadz0HaXQmAIonKLnZKl+cFSPppQ3S7xiMXFgaRIv+oOnyLVkyV5UIgPWOPQemX+eJtdZ85UPbzMiVvSbulDpB024AcGIj8d+ONBIKzpEZMVkVGnT2f+PVlL0e32u+hhcGOnSSy6BTJB/4SDIL7MShCaVwwewymaJwsF3N3cx8LRmpjOPm1lXSlRS2RTfhv7tqD+RIJOFkS79XY1rRrVhf4XR+vBXmzrcdndh3lxozULL6mZDywtek+OVnDclLCk96z8bgTI1EBZzkQ0OH86yW2HfM7kWxJZd7cbjF77znnH8XsVgFror2c4nKIR5xMtPSs0F9pOj5Psi8HvVgchnT46jGszTkSFOCGXXV6wWmtbURClNucSgB3s36lc9fSnb2nB9xew+Hnmr4WT7NYI2bW6x5gRdnn3yOyIU2ZnVOIvrEkbs5MdqAjAJn0g7M/eofloJzMcepAazVmoiwivVUKNwfAuMjGJcDRIXkRCjjtHV1pF4F3gD1kLExLK1xciQLtEDI2Rj1DzoVKTKwlXvyazelyJc/XQd/xD1B3i/uU8UCXDJeL87t187ngkuZgpebIHbOpi5PvRe9M/pczrBRalykQQ9WNqBifZ+/IwRQ50uIfu7fihL/8nKZjpLFCujTgI6UnZUz5lHYSE0YxfvFM53QgXB97ykFARf3Ku0TzrN4hZdC5Bi2lgv3Sp8EcCAcviK/6ZDG7sFyDbCZ+2eTDLZX+RKC48q5MdAeygXHUbp66K9Rt9MGFLEcXG3mlsK2BJ+u6T6mJttmxjX5eBu/G1OWo2LqM22MdvESfBMR0ydR7+q3lwaWLk/4lwtZhPVvSfiQR3HCN1sz89vQ10c1a5Dn9Qw6/yNBcAsbdTcQHBDHXcemn8tLeBhDlSR9z5KA2qteSkpDAmJSnIrCRpctkgz1VTELyPv/JxHy0vm/vT5tsD6xxWAbioasmXXCDZAM1PxIjVzKuNJEsA4PIMawPPM4kIyo9LrZypNy4jAFELNGMdjlJgxllSK0WepvRmEglKbEssSBPnN7NF2c101yCjn2HZZtZHAjPTubeBxs07GZVcJLbOc6EGfUZMeXVBXxncFZaZ1F461YjrvXDhaX5bYwEvmnWdDw2gm3+EOozab/HnE8njK1EONEsaiKSkcUe5BwkZwTfHYFI6vIbxnWp6MucJn0uEnpcLiKjqfZ1NrNFhmv4RXRa4e81TBNp3qYMqTXpim5bE4sHSXVP4nWG/Jn+B7qZzomh6q9Ee54XeaVhn34kc0QaGy119MOe2UsyK0s76WVVLshocYrhtLcKe67iKQ4fGHwV4SLz/XmevZHZ4p2zwoTy/UzyMwPTehTqnd4y0f4YX4vB4w3SRIPsHMPMGouAYyYhFb4N+frtCHItK5rL62pSr1ib8VJ++VkxpZN+zd4uMEiIn80+U++oELevJfeMMk06eUBtkQocwyDYurdYPrMDPrlmGVN4rCTRsiEfz6YXlCwR3rvOicBDQLHoAZXi8yTuTaxy6uAMSjNUGAAE9a9IncBr8JqYSZWp5O1wqGgU1rI39FPpAOqKsQbT2jnFyOPLdNGgZHBDFv9Labj0AH0coKqVKiYAKCGKkJugzZnMrVHm5rrogF8qe7FLBBdb80ppjlnXsWjl4PcrfiRbacXtofBNPLyTGcqIYjH3YCpjBMewUW1frUYunQgFEAXr+usTtbJ0T6E60EDTnBkxebdXoNzWPJq+l2UWMtiyKyB6qfrbF4o2Cd5T56UKZutdeGBKdKFUe3Na5dnCQv3Iw8MA74IHG3E23oX6/lo522KEyQk2HFE47GxmB8vLubdwegWM069D/iYYrrAbHLavqr9gqurcFsMQYZOdJfj6U83ymPyeMhzIYwu8NnB0YLG6u09jJkQBGADehjaHf1Sp8iL4htvPkz6HsUZwkRtCf3t1QoCPcMw6kCyReyBVKK9wzmqawALR/cfsf4TkkuTCsAzva9KxH7r4o99Gcu5EIzwRztAbuUf+OGSPPlcOtW6oueKgsKyF8W6pz3y48WTkUqHdM2QN/VGCG7ZBGUx8Cg51Si+8bm4HIoV+/jtXgL4rMWKbnZjgA5rXCizSUtrLN7q3ih28dsWNwi4MCU7zy9g+7yjnjLlp/DP8T1fCrLue7YAkA9U/z/x8Fqz15YPLoFRSbKPjf3LJmxTe9z3S3LJ6jlCM23MyFGXmLLDJqeFWMMklFtb8GQya/kXTNyR6S4bKSzdsKe3MegPn+s+ziBcmWrQopYVZwnSYnh3jZBwzSYwmnVS1DQhmfqqLETpxLeptA7k3xK8/os2LoEobc+1gV/1jjgwpMIOknMBBdmDgt7vjI6rF9/z1rElZQOdFkLNC7C8O443B7qN0hasjMhlcWl17n9l3Of629CZyZ0oJCYzZvwIsdIWpGCHjvdwt23wP2Azn487kA0F9LSh5anzO2Q+oG5qT3HlM9+3SAklgXbVas5ArbT7dPR01EkpofoZA5U5h9triinpq0DXaufX62NU5zccjm4NZNMWa8AEE7wv0BMaK1aA4tGQdQtdo85/Zj0U5jmhXrYn0Vv0kMIe5Bn+ly/h7aA+MzilG2veHZ+YhIdBoSPxdoEoiY5Rq8AZnN8+3eTWjkrb1uYEs25Jlln10mXU1h9szBzncaMyLLUh7nfVlauSR+UIiR/82z6K3nxkHGfAU/8zKAd3ZOmh7sFb18IBujcEBrO+meAbymzLXIIb/uluxDJPAD+WfWX47BgesOsv3HH5sZDGsJypGF9vKUNTJvCfPsBkW9pdpdlUIgfax6O2tIAtaNqppA8N0/6KtFJwoU62A/iY6AtYFnkfBT5ZHiWj+GZ/HYz+89szm9lDZo+IJZeSy1TpQJ+/+PshWBEz9Y4VPBL2zpPwRqDcWAwyJH57HACe+mxDsPVyaVtNQsljBtcZ4YBEfL18UjiQJ2GQjE4kSpv2bnZOvFZQQF7nKIztvL5Y38rEb92IYMOXgRRnsnMGcCfFeLGZ4L9T/NZMBIm4ynSAczStux3r2/Va2FTvBzEMvkDlLqQw7M/CS29qwWIKFXHu+Nmo8AU5QcuQk9hHwcs/fZz9bd8FAgNp42AXE9Lg7qVh3byG5aDuuqoSOIPFesVxm/w5X5/Go2GTQHEYFNUq/cMjS8esBsnJHBI6HMRSaAGe/A14UejElgXFjSJdQgTVLW05t6/MoaWGPCdox+xNmfkPa2A/uUWUtlK9gxIp5k09k1t+12+TTsN+QZKONoot9KV3GZJyYQZDrnQN+DkDyM8LTelozPyC+QXjEM+atJKzbJu/2PzprIyxTD5Z47rL7hKUCsQ0DRVbG1AGpTa//EVbA0515BpFeO4z3B713Cprg2Yh8RCI0L5ZpXZTv6LeLzdlplPmUFURYcE5mIVoV4zkJz/wZsM5nTVo0T/3RLuuU9IumN7ZnFJomTeT4LBBCPatd6ckeehOHQNGlUua4ye7g3dWRHMhNXIZOXfrTSHb4qcO/2zHZHpN4+htGc8OFnXh67iOLm13yI7/NrEZTb9UsV8M+Pw+wpxZ0nlH30/2nnwOS4q/8aopUvQueM1rj+6z6wfpxFHY/QjqJfEW4NqnrxKeLpAwjDHUpmrdSroHVch+g2g8Pn8IIps/tExf0bg3NyPd5o2H1NrrduKzrb41MyDPMa1usY4oB9gtipT5P0gaaeeHTCdR0pCLvjn3XE9TGuV6uk3Wcu8FiSpOrNjqOx/M+1G6ARrY77HRjLSACP3/wUZhl9jdZXc3faWU7E2AExhV7Cq+NOrno5ZB4J/Um2tjn2K0dHem+RGgx2mT5qX5FoBulJVjnrs3kbaQX7wZznC6YdU83IeZf30YwYFt8BqpxIrB4WC8idF1xh2ZX7Bm6I+l12MggNVuF+eoVX0GK36XIdEOhOlAlKo9099Yc8UWh1gvu1TUrk7f/9X5Hxqn9TVixs7JAQ0aIaV2OrTw6rGt5lGH/yYF7zqBNBmfnz4y7zGiAZv07z7+DOalcs4g7MkKlqJNogczETbETE+TMoPzMz11QUYKmdVCEz/1DWhtT9JHLRrTF5Wd+M98SMiRuX+F4w+TyqyOolA37ebduRttI3MTjWxILssfNaSHnTX5H37ycOKJaoIlY15Vj/puafuAdfX8b+dAZon++bZs5QXjaAnloksCAqURxXG6T4Tdz5uhdXRteTkGgH+gt0ITuYW0HDzEnnCMhz22/aw7Vqph/wCHa9sYGr1mXtIeXJO5rG2dw8RIWb3TOsz2Vg6Nn9+lxdSVCV8D4AW4hpZAm4s3xGo7upbltyDQgF6+GZ5gHywRQDtmGF93NR4uHbkSIs0ITP8JACHVzsZmIvR0uFfUF6S8OurB63PS6ZaeuwmyG1+cK+2p2XWgG/LQ/GnPzCg8ORCfUrGacAvtk4pm1rhXzMlc8Bw/WA7ZPqzo8dpYH9oCaOWEi+izS7/qXolhAQTBUowVtl1RRbEpzZNnp9vxSJuiIkW2ww1LxNrfNxmhuzVAX8UquBy9eUMEdcrdeTkv2Mi73c1MMWk6TABIbJRcnBlLp2AlWCdn7/ddHyup8wJcHAVkv+7T1T3SK5FlwkpP9QAJ5PgMAf91uGFXeMrqZb6KEBP4eXyctShME7Fd55fEamEWyc6qLqHb3Z/3ijcWaNNrVAh1t29D+EA2ArZX8/Eavt3jbd9ial6aCXX6szSshfyFUGQlZu7n6zioJqsaZ/fLBdO+KfDFWkXxK8Cx5mSth7cCK2k1LeMCOKLztm/Adq8pHpCtNtfe0tvj1ixjGrewzT64oNqvIsOTLABclUUr9c6J/OK+JuWMA7q0kQEKNJixP8cfS/vAR4zK4LAJ/azippubs+TTEg25dDRn4/hOytCAy29C2EIo7rHVsKfSiAZGp86hBIXBUTmEQBwqMVH5mYvWuPfqGJMSzr541p11keGaK5h5oyxTLvFyG3xUyu4iVVFl0Jg/W9oYMsWXJVXKhD013bQgnSMayPAzWbuTwciG5SdV/Mdwd+LQdyy2SusGSDbOK0enBEDr2KQqUm3krReAMOdgpSSsCp1WvDAKXhXMIkkQVbwpX5jkrRnOMbUFrutVYinao03/yyzOWkEhxJx8pP3dHpGXig/Mkt7p/PwkEZReqG1kkvWlaUnrmytpb631I5rjSHvJlst0zskJEfjRhxYQ6/wFcf1rlusAFNiD8KuNUC3pO0ARGh6tu5XfTbm1TpMAfd9DdS8IH1tCeEJwghGCibj1ifdCQFEExAAjlGpRXnbSQqIKHzkAKGI1nPZEiBWDUCFOjkEcKvhFCiK4qzY8UssHxPDiR7qRZgiNozTF4nrdLpOvemFf6ELntk6Sqr8bxBXDtc10U2wxX0cCj0rgb8of3W06KBcEwfI58QAjTfbwn8+cYgBKNPE9SJGY2b1fwF4l+7Bg9ia/kz+gNqiYieHpC7CEKlQuQHo819p3D3OiqgF1EfeQEG3V02baI4S6mHIQtHtHk32iI1BcjKqgS3lZ55sXJpkn4Uizh654YRmkE9nNQ/++uX5GO9iOOOZiksuw6P8SnwKuQk+X4SuBsrC8oZ0vugdsSfUZjOx2zno7nCqPzXXuhS2CsgEsapTQ7MPtfAnG/JwC5Rp+iK10JlKiteL+plhu0DAZ2Y5coNG7PQFPMudnK6jrTu1BhgxP06z5nHJWgLNOVqWwta0pH1V3mBY9rBVIXejN5IU6zLkbo/8NMt5ada8yTznHskQa376uIpnuTjRGhxwL96pODmCAkgkP1GNqEmTDXLOr+gr5oom9Bwwvh7nWEpC2Klnv7gUH+6/vmUjsoN7AQjO7UV2HVzkq7/JthCZZjJw0Q9ERdk3V0jp5FKs/EOTxEnjt0pfzIJpEF6Llz/SnBpI9spwBPyNN8fnyfiAR5NHgQYVHovm32dSbO9nThZOwPe3xfYm/Lti4wkhed+sPRzZ4O6tI+xwBSMmtIS6dPWuTU3NnYDRAMDhcwKg+xdSfsNLFFJGD2Eqcz2vk4Ibifltu+JpUyOy+CdtDOEWgfR/fW19y8kMMAmcv4sLTzZ8ikHaLU2ZK9folk0NRccS325+6tDsMgGSjV6AjZbheVW2dnt4NUUGkGaFgPxTBlZnAW/7MSoEcOOuLCiXQanHhn5nw8ITPPliSqF1p9269lR+wc1tDsBIrZ0hvGhF1uVcEc4FaJZ4OnsAfj2PPWVeyyf6AabwLMPKy6xcbPSGmFxxJA77PAZGkJJpne/t8y8lAh/0zlq/ffrgThqgILJgakZHJSdG2ARBh5PeodIfoEAIOlyOsdDtRu7pu8W8SSsrRZg8TSkJWP7fJqGcySdacspxps60Topozenc3JbpES0lpkcAEy//lL4uP/2PHzuW7be4LHzzFw1/kyC3O3rPvFp2hHnoHwsRYyCs52at497MeNaq/5vOPwdcg+mGAXe3jTXUuhDc9y/Rex50DjCWNlSeOIs+7dnX1Q/lj2WJp0JPZ5TNwVfoRFquL/EerXH+ClBYPsr/p4ECX8AVb1Q/xXWHJ2BRmQyjuJnkokBRKZVlwrlZNPsg/aIcQvjz6grJ7HdWPzlwGgD84CV25k4TitZFP7DX2zxIxDYt0h8mAvt+qVmJw/N40+b54Lg80ESLQBX9Wxgwwh8bfTMc2LnpfQSd4BVxAAiIfaQJDZBNTyNUbhEEGrvDVtdd63UjDcqPJq1do8Urpka43YStUBTUqqjnBYuXORLl/IKGJT+nbdC+H+IRM1DTCYszpPoHQcWKaZhPwVILyM1WP413yXTw2hPWoa4KM4GL+Zc9FRw50ejvjWERuJ0IYWfcEuzZQq73GREnPimK3DrJpM4/vRlKwRMqPJsdmz/dGThDS722rOMVYjVCqx860UoniBYRyONlAAsCCR0gMQ2dyiYZKCXg7aYYBzo8ebtMXqpr4HIw8AI1l24te/GLvYpT/Ia0PmmEUOkW3DCdGJNmtJllOe0SAgwG1e/BG8SG2Xc9BSrRyXeZltLSjsM+gD054CReQBFEKMsThGQW2r0hr0dvRtt8lXKDrYfbdKnlGD+AySJal5PKRy0ACKGjYRO4k3h6tKxCmCj5PE2ED87qI4OWLt3paxyeDOo8aO7gxFYY2bb//f67X8dzAp1gbNzqmbCUCcs5c63l2FQahN5v2fuve5pFyEYcl+lUCUe0981hCZyfzTfTqbfwl3L8OoyYhu6IQxA5hLNwavgl6zRYf5rsNIE5K+5oHJFBq8sdWM74Xi/EMnSs5FAGImLc4CAMjcWy0zvtR4WYmv4G770v9nzByoAW6L0EynNzXqPk/VuAfSy1iSGJ3fsrJh6NNC4chO3zpiQv8bz6Q9tATR+CxifyQw3pxBXWy0Fz2rS5W2e9hs5C8WbwYJS4DDsMO4bTAhGZ1QAd4VxhB6LP7F2ndHsu79Fb1Vg/1QR8TW3dLd5SRwQYfTsulH2l1Bl1GjYYYvDn/VIFqrUUPwJUUfAJoHVYhCaSYrxllBytlZtOF7sV9Xb1Qf6zBBGdZ8GL1RxRz3ebq8MCbZAF9t6Pq7yHdCwPM8XZI3blRGGOlMilt/ikdsvKXyRwHp9DStWgde/2geeUVFoEbod++nPBPS34VlFKT81wQxOaGyySP5RlQaPxxZnJzr3HoFlyS30Z+Gvl3KilMlLv2bRmxFW4SsyTgz4KjO7z3VzKcntpSi0rNqBOdPn0Cti33rGDLSsSpOpV+j36PUqmCxKNg0alqy+xR83g+TyF5g2vDJ1+lcGJcoWwklfItmwTAP72PecYz6bB4go0GEF3pDUEk94JGSopR/hp9HvY714nrmRVGivjreepDMwvTsp+njvCMk6vG/liguo+HU5iYX4gAdWYkVwQcNI2S/hd6ELXpfHg/v7wDgvEz1v7YLE5hwm8RZQiOPpeC4QnpRV8P5zfAkEsATan2aIlSyUkRk3ItPW5KQllDU/ypvstvZIVWF9kXR6U3a2Hp+aRwgZFNn2hzA3ptSsXd6cR3bFKy2oqfbf7KfQeZ1jWf3I96VYSl//BjZZ/+h8EL/vWLYS0lGPo0PAMgXWkb/2iXI/kgYKCfG3ZpSC3w5Jc3QGEwFza2fwnERPkgnVxZYsSqIwzhxB0nplDf6yR71IwYVMsj28qn52dQ63zkRpjKA1W88+oksVE+MTM2vxKKT+06y44bVr6OkSt/wUunnWSezFmld0S6mZJwHtVCk20/kH+C8Jli+bg8GDjIsPIIPSNuOWd2Jc8+EVlTGled9+pdMPKOcwU5r1nxgE85JuMCudt3ueCqQgVCP8wWQoytuQbJKS78m0nDLPB3e/1iV0J4JEerYbpkyWXXZAO6qhmy4Ddd2nPGhJS1EDSAEWjTmJDw1iSqyW3bBEGNMPONB33kj37v5FXxLvskLtECAioRpdW5uyCH3z1S3ooGD2JyKWX6lVNDdOzUgrZ70hnRopE2NBa1Tl9EQdnoO/97c/45D1mlFLo7KgulDD4gjuxsAnVP8WmG+f5A2LOOQFJm/SIIKzG0+P0JdgmkfjjHJ8czUIClfJJS/N9u+CHro6nHzKLe3o7B3q/Y9EmE4kjE2eNEcWkxMoC9A9Yy/gMb+4a2Lm+GyFU2+XxHcR/jSHV+zZ3KM9BQ7Lt4nekjS9G92gIweG/FY6FvGMOhaV7nQFYSAE8I0gCrD/DoFxR7UmGjkoZnGwDwU071GtYMkFUYhCgMhoNUy7cgOulW7zmyASL7YGy6fkAoHJEfnNfUiYDPHZcyGpkmxCgH21oBYhOvDKFnzi6vBnZiismRp1SmDT2wOfbkuUwfCcL5wQbAQLkJrMbukRLEwSeWLBzKyitFrhgYAX3rB7fHd9nGX7urKcpDt29CInG2SgNWyOQra111LnToQILPISxyrha4WsQHlXemld7Ne2md/qoGapi3sBnXnF28ZLNUBOrYP6B8TJCA1uv7uvnTtbrV3vdW85eJunmDlQtBSCgfRna2vSCrghZ7U4dwdhIh1k1VtxPxPs9gEuAra89oH4yLwZplwvwTSdRwI5e+eDr0WHU99iPdZieZwS95tvZZ2bVC10zAjoOrLw6NLUhqYLoVtPfWT//sKygjgQdmZQuO07bCfE6REIZyue47SxfeljUAiJl3TyydCfS5ZqdRNfQGqmJGB+z07w661W+pxpIdX82CMgrKmjkQ/D0aG/3//u9rhiFxtUlzmA6yRqH36ygbgvRclNoJihsm9L8qBYheDwZXFk1MZ3A7mU2gzrfQXyn51EGhXrSP2nfjKd+m3HZDmBVO0WOtRtxf6OVQ/Pylb4N0+tSXvE6QhWV81HVL4NpDbIMi0ii5TmVWQzWjB+wcSCsnGa2gI7YWBLJVndp6UFjpEyPKWBSPHVgoMtVKFI4oSaH1TJR5wiw9PVysgNSQNe0r883AZCbxa2yPQ5kPPaMJEtVmy7iseMPsZNXEv098PmJQZJ444oHNWN0y0/juaoHVc5V4ex4WOfe7Qqtw6vk637rjRby49j1zlymC/ZvEOWMymnliCvgMfm5J0EcdOhIiEZmjhTa7FcjiZKAplM2qgw3z2n1l0bh57aVoBAwFICcsdvZhnFYQLoY/Fl1NjTg3mL2jIHbuL6l23ZsjGXHeuJKRjSm6aZ1GwLdbtfvg93ov9RwHkDd607D2FUn9Wn4HSIsqObXVytqWPvRfoA7Uu/xyqjDEXJMb+VbW0uB7wMZU4H3/UU84wK1wfoJRp4AkCOYYJkJnp5EuBsU/+qqDCryEIedMSuOU9C50LZTXWEsxla7mIagiqYmbM1F1Kz0PHPwUpW2G/X3CQxrfNutOkABS3hfoBBnXaXpPCkDYipmXyC49zUQTDACgXcvOriRZblaDF6TonSp9M3yqmq4IjiL5uCS25tATNs/W1vNfGOsHbvv5Uuu0ULuojj/F+cwRsTI8NWFObZnU+27qaNIvzYsWvbb7MFOvmMhRV027l4gpekUq4ByLFzy/WwWXRSedi8DUodeAHqrqpJMMawv0paILNqXiihmIn/NtiljkxLCIPMxY/1QWoIwL7AWJtqlP7zQCdbtjaToXAczCSvwn2AJLd3pAZZgv3Oi9qHtWv9gPo0vevJiuvU0eqxlQzJT7S2P4xjPICci9j4Ff3hjLv/+IWrkJ2UA8sTnSL5jyxL9Ibq2zYfTo4v/LBeYEs0UxwobyjckuumOo9jUMj9C+5w27b4U13cg+KAJo24UrH86BIA/S5fQL0+54cglLRXxBDDhIC+ny/dtCE9/OFXCATahVYkxsR6j+aVZpYjQKdfEIPP52m47OahzG/KsTE0VWAq77BJTv/hiv8U4E9Z5ah1q/khMeCVUMDMegsknjJen07aVjfXra/NrOzyOYIfuoRUJPwtWd3+m4JBIPWWdQZiExUL0IxiGwGuz+VW3N/RD3+ch1rkVQ4MzgbSd++TXmMOuHwHBj4NDAlM74Mg3+5SJgjBxKDOEzV3AAW5a1+LIS/JzPUO52PtpvqeBBd0UcMzV9HLwq3OjJCzdWgJuVK+rBNBajUTJVRdE8wXtFChV/BCKg3iRz2Y9oEhG5cqCxGywSzIHKF88N8rzzk4U4PW4r9MFkq74V5LFT3tif6uvwwl7Yg1rRsTan2TSCbkVUmXYuAD8PD8l7057BapNtKRfCxF30ulHUG7cyzI/iO8MvTQUFrSRe7J025jbEiJcwBj14AFPNCjBWuYmxGkVhy9CDjJ4z1a5hnOmEcJYz3o3LKHwZ4OWOolnp9fRP7FdXD9RGWuZypAqHso0MSKh9FXR5Zz38CPRMhZhBF0AYobDfDPCYwCVQCoCYs+Tj1Q4CQKd3L7HhLK/rLiPX2h7AP07a1SkCCCH4fuOMM/tK2j8xoJKJTFVWiJxWUvFz5KjEFjwGPt2fhBhZ5MWJ0JdjcMy6OydbJhpjl4ruvmNIiUDFeZGnixhh7Iu5w8TXsGou217KSqzo5MUgUr780MMeyYSCrk2qI7JYPelIo/orN16IMoLCCRyYdSedMaPDgR1PhJSdBCVLhS7XmvlUdRBJDkzIo3VJydy9KRMgiAYQaG7QM3ex8QTpmNOEq0bxdy5UELo7nkrjws2GWw0pSjKto5Eh1TVu30ia0yni7YBjojmjqASRngzWr5bU6gWVzjWdts4MErJOhQIUqLnwsbspUQRyLkG9UQC/+gi+db+o3wc0Mr/GilGXfEez6NtYsv/2KzBvV4UPQDzYZfISb1Pk7V/L7PW9CyGe/k6efrDCN4x29qEaAZrgBCUov0uZvklbcxjb+gXaZK8hLwj5EjJpcISHvmy4ZAsjw0egOg+IsYwsVjTQEMPEWVL1Bugpsvign4OCvcsSOiuwi+GHkW1d0HhURUNSHLoAjIA7dQqmipZJMqqENuWjf343qlyIfXMGQDKybcxsg5Jn4UpD5bR6uy9fr7rcIKzAbFb2U/XxjPOcS5oojz+HmS+ZS29y91VTn2STi3KBIB85SAyNU3iq/IuI21JvVHKX4H/uNJLFeu06RBXyLf/2rzsrX/djnZn2G0HUXm+zzT2qnvUdpnziIhXIhSRtjvY31HpPdktKr0pOpMADtFxFMPG6CkM32yD3hvXlMM+MKB1K9Rl2muIiMmOHNBvbc5aa6FhFt3QDvQLRkijVUaWpjVw5oq+oSwy2HP9kEYEqQNZw0YFVDviJY7Xdm25OowDaiMybzJ1YaAo+Qhqi6PnEhas99/xOo3v8KdsIJfLOLhROkuy1IhMUlLL5umjFMmPy+LQxAlO3MToyT/HeKavbbYLG0xLnP1Nc9Ko44LM9+Wk9eiV6QUL2SU6xGoRkerFN+yAWB/8abHCBBNJfsNy0coVekX7Vz2Zl1HWpDKRJCSoSND/iijSWEkz10k8QL/7j1ltTYW5L2KWL/pUzsggw+6EFHklL/p7XCKN2MVRjDO41ljtocnCP9aFVm0LLVDOwdxMVxMEL/P42SGs6Bdeaq9WqX3sfR7ur3REkJ0Uqch5AwyCO0AUtqEMP5dacV1s52l6Y/yxY5gZWZK1RC9K6rsQsyPaUtLiXaiU5uX55rWOmzijGwt+dbAv39cPLGpK4T+rDskHf5fa0Lmahcqnj7f01ESKDwyQzM3iEj3t4MCy/B502SbVc31qJx61Lq6HlDXEoUfwpjkECDgmBdElxmQtpS4AaC7JU8G19WOY+2QUOzHBvFhB85wKkiQhIWfE/vHRkez6avYWCT+7BC/fYktfJI1DBUmwV6zDxsO/UT+X5dLzvBgz9QFU9cr54H5HQAhDO5XgaPevU+QhMV3YlG8Yp+87+XkfXIa2cnZ8i/LEKGmE2hGf2NiG12W7LuoYlfukJ/L76N7toHIPSSk7Uo/7LTSyW9ulDBK6279WNwNx3f8CcCH3Kd1as9GT1BNI7vMIYSAIhCeTKmLyAE1es3hucZxz8V8ft7CuCH5+4JHtp9Ucf0JPWnDJMtmCqoZWDxhfbyBLQo8wbD4k6JAlXpjw4Rtp832MqsvkJ3CXzz2MaSFTNhgPq/WlznnUT50v3Ben57y4swrF6JjSdFwn3L8oZQYseAXIcNOIwgA7R4I+XvHPcfsMvmCN88C1G/d6ZAY8XT7c/KAD7LpIXS9h9aJ2MbOdoaHPmqo4DIRldLNSC9zAEwymtlRmZNxnFXNmMWERuu1aGx2aGp4LWMTxev6JumDK3lDZ7uE/6hpUiaZXAAEJ+LZ+AdjPwD/CXniiGo2zqbiVzplB/MKx8z8ouc0iudEDDnXKOapyU1JNr5TDhK1CgT7umi3K73/5eg+rUWLNfIf/V1FxTjLQcW4qEL4GXSQZirEoZeqEKJXeN+jTThFppEHwCibKMEGGCbZIbn/yLn0fVYeAOIGUvCrUFncdv7c7l55OmwJn/5Ps/UuC65SeBYSQHbi3H6yhxoICRkNWy4j/qTWINx/dpKYPu33O2AeWQ063M+RF5zjknGKc7rSGRBgiixeCUNvXKfsGSPHUCHuJOwf6PYzE5ofwHFaUu+Yq8MJIBQ1ZAViiFRD485LdxGsNjQwqwhhjKUYhFGW2zMG9Q9RNGgOyRu0V6bi1CXjIkNSw2yWpfm5p4tr0YFckT109BpgutNZngkECo/mCp4rY6kXNplVZGr5da2mMgrM3Zla/Us4Hn9FNGsrHTMbAfuTJYQxDJ5ABcm7AC70mjBQUPG+0kxMtHdbC9Jk3/6F2exYMTqxpVfVoiv9foeZvB5MVQeCbsPQe7lm/5QPoN8E88NcoeUNjpCbrcHvNGKv4T8byvlcOY6ckR6KPBJcFWqHczQP7Sy2Xgdu89HWrG79ilXsOirzjXnCIR86F0jHlYSo8ppVL06z4yyz2OKVw3YnabOxwqnXNhFsacKos9uB9j6eLLFBIvXA6iNNMZE5O58ilGg6VMK5wOLvj/jA+EXDp4QoZRg9fZTFpK/kp6DXH5v64UsgzL72hyda1xhzgJk/cEMjJj4qUrOzwt4ovpT1GfgRPLjq1xIrFqAuJzfSF0RadDq5YAugcFwhP8TFAXLYEt07Ssd56ZKy9cbOt5fw8wkeHsp/Kqvu3rOcNdF6u8K0ODevZu7R33OjnCpC8dis8K7X+usfoRV3f77tTU2x32Z5iLO6FlyNo0iukUqPjUvrTVi/+/hHIRHkBlhgOg7RW/0F0tk9EFe0e3pnlxWA/iMlwofGIvpOCeZ5xbRfVariZXoyWeZbr4Z1w0ju0JZ8umGVjM1AZELciJycCjnl7dWTEm+WhGupBGe9rQySXsbeNxuEaKrxC9KJ/9+8It3N9zRazH10h7g6ZM7DKyY8UbToqf5l6WDyTxY37+PfJBh+XdwbW2M2Wlc0lqNlhFSpHIDslIKoj/R5d1s2j9RAQRglAOPBKXkwYL/QqCfwURQYAnfVTG2fzM4XdsiIgFzpuPlSDKSFuGBaVxITg3YPV8/BJLlJsj/xXk4XBYsDn3dtJKJ8/kxxSvHpwY/yQMC+gjDr/l/WU0u+SEO5e5I6AkVnUEHLUsx//HE32G+cm9ici3mAheSL2+sS37eeD8396BCTnqzxxMAKfRuG6ylP6iIGPlBuw9IC0oWy14+nyh6yK1U8OFJfBCf5kYcALKHY/9TjuMYbj2z5QtnOqHa8C2O5tr4FX7+3zlIJfHmRjgRvEldOHSKEe3AzVuAyUaC8w9RRCuRo9XCD/V+wgR4DSpfv/cggUrOXjRwCczWyC3hyjukYPt3LC66OJhYRjcuVpsYFCwiubfT+ayxl0ELCgUyQLt50pCyUsZ385Y8a+42na/g7Ns8ZtP9xvoAE7QAGiR72Ix3Ny05QZ+giq7IMQI5SFdeUda78ds9UoUi0uKBNSdV11g+fCyn7E+7zBYgBxT+z+jcYhnZXm2KXcDjwL2GresYEPZe1j0TiypRU0gcmSIrhulw0ErrizreMuKFOYEtBEPAYyRjSM3ucqYjFr9JZYfAUaMozzLjgJeevv9BL7lKofKcg4sncUUaAf9MRfof/AovsM0JvjnjZDsQaPnDbuy8CCFUOTpc2UzNmQG+pYJ8SmajPQ3OVeF/uTCLTOKNPztXhdE189lo2ESOvXpBdxX+VlgbIe5cErMkaBcLbuhQlqwGfayW9mRGdq86xaedPxkHSYvupsUziz821O6cwWzsZJa4n6jR4ltHEcI+fJ/69wyIe32lH4Nt4WPL3GCsYcLgoi1IvbCf5qVZpYbBscm5soVWH04oF6dZPBIheIv2GsQGh0f0YijAxxEKTZMVChFFTbvAcIgcTgg97D7nuhrAZapoQnGnz5nK4//7AxsWyaNfRQIbfMrqGM4DQkpZduC4TWyUpnpSlrZz6ObMaUEtXzb81PPhM8j4lUy7i0h+IwwjNJ93N/lPdEFRmNhSO8E9dypsZu6lYeycFtXdh9+6wA+QU98xcPW4baZBpxjzx9Fwo9LMWeiz2b5tlsUQeiiqKkembA5B0IlCrgR8q98N9TTMKGy92VqPY2wK4dKag+C2mG3dSp0a3WO6rBDjt3n/o73fQuzNev6aDjqXze2C1J77WzVb3yro2fpVQm6xP+WpwTuu0VGtrDlpyIRPR7pknaYwi8/8mA5xSWTfXLX+/myo8f9lSOXhpLJ2vGyf7HNiAAq33iT7+sbtGWac4/R91Z4H0uTDC9SNfmHRQHJC/rYGyH7b3K4Pd81LLvP+bQp8q19uNEpoGcfN95eS0+JalTUO6bLQTJyQHdiQow+UodrXo3OWDS5dMMOyAF/7NTL5bNF+gPsBtEP2XcgjtEC8wFw1+kV4naHyw9DN4pnYopM0X2/cPCt5e8e2CwC8+nqj4B0Ea7pCZHIWbCJ9yncd7LciTOYY3JgMyKXQsGg3yf+hOJHKglPJWECDT38jAootc9IYzPKi/ECtmLy834mKG/pivAabfJeJKOO2CvxuzlBLX34ZYjuyI4TtydniqoOmiqBzMQIcCw2slKzlX26otaz6dkJ8nHGx24XgVryw767s7D0fTOMfBbU1wvv/VEIhPFiwUn2zKfmKEy+ONDx3m+QkSYbd5qIAa0c5ttlkt1jSRjUGhuHrRixMG0AzdpLOMUqm5GajTxWqy5ocxy7AnEA47T05bwMGVnFvCCbh64Wv//AScTNPEiMgkCWxHoWI5Qj04igiml876UmPPbSOf7BQn0q3VZ5e6WhqoLBOfluHq3t9BqNN4uUHMDY7OtOiSo+tCjmMc2la+dXnvyQxMGAbsYwcws8HsIYUOWj9Y5UU/fPzrqbPPY9rsZ5ndFeLTXhB3NuiXKMQ52tcva8Xx2SacZNG7FYOiVKggcQNvSaiwX1LQWmtHuh3JkXcCRON5Xw562fL/IVUI+u7Ye3i2Ysj3Vx+VS46XQ/Yt10EKPFBillhn0efwYcgn/IQjudXfGpvzztNAqxpI+U03DMdOPb6ZSlLcnaUd96PtNXjkhY6coaZzJilGQUUG987z0W6WiuBelvStKlZtDkjsnLGxLH5xCDfjqAh4zvB0ytk05L3ULuDbWrv/gpkbYNXbLkv3O7Dp4b9EJO3jGYS+pljyUt+NUE31NH+Myaw5LrXKXnpTzDafWkliWZhMznmdAY48BDsYfH0Okra4tCAIEc7Gx2/CbpPvMyPxkPZIkuLHxkBQmg10uvty3JJDfMBvZi6rRJQkCOxMl2XW5eCE58DYEUu+dtTEm7IGI8bWMwUT3Dy/N4p5RO888Dslakp5CHEUBwjuNTMPlFazssOjdwlPI1UqbXK/8CiM/XD9xNfqcnySiTPPhPx0NPBCgGveek71LyX6n+j9Q5Gvzg6ZCQIcIXE8V5zcB6gZ0VqGLCRv201Cbh6hmJ+AH+F562xdK3iHdGhbMkVeS0++tqk6GIQ13kQ+K3bCyYUwok62EZA71I3KpHq8BUn5vtRfPdYdbLRk/A4ppT98XhXAn5HtBp0VqM369LWnJhxXCUUB6YEd0tS+HvI6Ic+ppPbs896M2pQhU9ClfJwJuDjWFzwEq0aeQ5Vx3895Iz8Idgs699hm7XfLijq3+iuXRuQ+5/G0oxDWAvVjaucpF4/dMfU+9HDhdul+98EaE23HtofYqc9YTJ0gFt452en5SlXKtHD2kwrrxuyfFIdQUqYJ8zSV5gKyQVM7avTC5+RYdC1wFm42dghUeYv/j4vz6FyUJuVCEJcyNdXSkclpQZyP94P71GLLZTtHIH98c73Vkovq5zRqflwLO3KiZHVqnKao56GegYdUWly5f6092f38cDE1iFzCJlXoHpRR2v7hLtIFW2RcrCnPLv+BNJBOHXtEfvfZFLqkzkg5+O6ydkDUCq/OE2g8sYRiqM1bH/+AjSn3mbPKyAXN65phaTDAeuBhzVsorUoY3CRg+27OE0XjaZCjbEs5HdohXoUJrPy822SAVPsylHf2ISZQ3YytmXbCyRSTxvhGdYheXag6lOeTWheh67g2RzBIEZFY62CCUAzSuUaER5PkmEcZ23rUgMtdOFswnXucPMipuox2KuW8AXn2Ms+7E0K5t6McETtMtVkA+mTUN4pdidD7lh8RQv6LFIlUzV9bHsXaD+5Z+5/mL0o/se8Xk/XdBMZcWEgqBUYa9yH7/c+i9GFChYW5fvIDCBes8OYp8eCcbVA6ovnLokMAKfsHczhGhqAhQgp4nIV4QpzguBMYP5UuPR9ZkscAkUhDfZ24Phg0mRjvYsmxSjCs1fFXFLmvfXDOXZlGBbXvi9Kb3R4w3coVC4umzT0J5ZSrMruwozatOrqwtDCZc0OY0GmBLyM9hVCpkllpFSkUg/u9cmoakZ01uPHhXXOQ/W1G4uRKmLabl16PqZ18Q7l9QPh3sN797a7uZ/VGL9n9QZ1+xzAyZdO0yobhmjI+UUOUYY7wKSffEWJt5D9Qsq2DqmcuIM8xs2usl+6tyya6E2S3VEXreIAUByClJ5j3S7AzMP+6sIOMmxELErzNCUYw57aCkGAF46FoJXJr1vDLFPnA3ejNwIGJv5bhhi778zD7v7ZiTtNnO5YCHN0NV9e/sxe4sJSy6twgtZuysTYOyBelJWmpTCqfzqclafVFo6RlxFFwnsHpNMN5b+QfKx0Rj/xau4f9OmCJhi35j+XpCHDCHEZwsr4uQmAaElJXm1x+rWiO+uvD4MIgsd00seDpYjBoy1dcHpH/hbOl/XqhXPsUmo+ci0EXhFoRWsLMZLrUzy72RMX5xy9TcPSUfyDnlq7Uro7UNN5bBYlIFGLT7KhhHtp1NQjyGKSEurkvq+H+jSdDKccer4wShVONfqEbfcpCD3PUcEWPgeqnk4ebIiOXqYu1JhdazS0WypjD03RHYXFHczccXvVDdVjC4yy9YrgxN3rvsmyUG24NvBOWUNE0hMBHWuopYgduCOwKid1YUzSehSS9TY5VCwqwEr/06W36YWcCPe3Hlu2tRVf0k8+0tZ8khilpYXuejQKVS/iBCxxDg/v5QAd7mXS7uR2VsAFkQxZDbc8Atnh9FRgeK4/bpLRwobDuT1AZG+5Gsla2RKZ3DdEoWRPdiP2w5POOcDlTBLmwTKwM8KNWb+lZwlAPRXLoFa7wrAWouo3eCtoGoVvr8S3KJ5Ap6wgc+CSGUETGgKWtgqCcteAXLjXtfiUMX7Ot2wvKsUlwBwsSSLUuopH0sHvVONf+eTiyE0Vy/9jVF8rURqF2O+fvhud0bhb6IZGRraxrSTdgynqpMgUHWpUAUE8gc+0h7chNeNl9zLJA+skp+QgT/0v3gB3qoB22JIGkx2Zv/VBJD/+HxV7Enz8HXeuPSabvaj8hD0+0KVy9IIl9WYcsWpe1UdfVQ/MEMDi/sJKkqFT8I6yWkv/Rl3FWNZuL5lguP0CPHUXMUfiaIzT1LmpT+uQ7RPKnRQQoHRHaEvAy4hHCNwYJ2P8thX5CLxvciOpMCC8T2jNSaFYK3kHfesZq0AGbDYUMWnMlDBEf3Gvh5Qydun2QcA6rE0zCGTnB1MQzwdWLFkCRV3V/UT8CkIjg7fl0tqGAKnzrYi2oWQcTGnVGlfk+Ae+1UZbv/rw/XeM26osofAw1p+dCssm5Lt7bkydXvw7dEZ6lCnwCxwFTIlcNZRuDQfw76NBhTyaXM/6wNF8mLHv1rLbWgv7Je5xgfu4FPXWQajsJQ4VgswbRt2wYVVv6Bdq+lAWDIIP8QaaluUQ1zreZ7vb+iI89WN919neCJPURNVUkG6JdSPbgnGVbucuF6WLVkif305Jxu1CvG2Jj6Bgwv02w1x20otSbn4E9a/YpaYon5T+O2Y5VymG/h37wL2+tg3XZ4Fo4Xq9dKQqmVH/X8AXtQI0UnuydeqxPpL9MvZGb01fvqPhyuHRPS6XtX9OSf3Hp8fcf3a2qrP6xBSjZGtGu7bLlxjIr7HfORy9yuGlt9iHh/cXgK5xhaCV/rwBWYNtQw8P1TG2Vol9yke2LGlFgAYaoQRTdCE8scCGE0+bfSultg2dpktDr415zbipUOZOBJun4a9RueQU+iht56ZEE81o9NtkZHBah+PbYHsIUI9KeiHvf29cu9asqUwW6Of9iGabVfA4Lxh6bEqt2sV67q1cuaRzzMExrKv/g02N4foK147F1WBWkDXdb0cpFlSiGbwVh49WAYBhEyf0IyATyENRoeTmI4cd3aaALueLBpn8PyqGBkoLldJsNUmHiJ9PQeeo5//40QY3r3ThK96peO7T0k1/WULzzEvnS2+bo0kBs1wIzzo0d0dFfdWtYyVzw6bhJaWja0O6rBGjJTikLHYc7vEPOZ3tJmf6fsrWlH5Kxoj3HguciAaf9541otGYAJHrn5uQF3ibDka6cHP+lo3QQJyifsJZWZfqQpvYHFe38fb6cRwsZ66DKFwcfcmrDGmjUQ1ByxQx8GMbui54AIQJZobS4dkdf/cXF98YisS3hOAD9kVSNJ+qWTnwnCn0zOJWN5GHIiRXXSSo+cnUAFRDOYsZxFa6jWLZELmdfQ1toVYQfgsvfuAllt5DrQKcxv1zgNA2zqgIU+JktfglG58vXtWsSUbSz6dSawzv9xOqFdduZZAgve+tzWBPRyPka1dCUfqbKHPUN/eYta/Rb7R3i+sou1RSO52Y3aA+hsMVj4LMOkinkka8u2YvAReQYQV32pV064c247DuMx3IBghcSbRuUyOl9Wqm/pmdcXivurhdD8QCk2R6T59XYY2RD2KrfL+n3h5TAEFbpThAVS1IriI1v9VgboRdzl6W4NTo8TfX4uWsZ8IRhpgbsy+p8eJBmx4BS//z0+N2Olm8BKt8B/IbE+yFtLDSrK16ZDZ7uTZo4DY46vM6rOnqrHsjdiaQ57wYQbAu95LEYMl+2/QiM1jQjqRct+1N53Icl5js3um896bsnpBpv0Yqaw/MZ0S/ixx46roduf3C6t3omDCePYRD0lvOAPxgvbfdaTCIoTGbPdn9u1h44OSN4lLcHKMyv/nX061kTvUj0bBfCWhHwZXPTD7784fPZBm19gPKyWK5I1/n/5WGQcyGDIxltqsULuC1C0/E07erhk0K3wQUD5pNtcPNTCmuqCTuhj3ycSyNMHwvYq+V5RumihdMdwHoL8NDg9zZXUoxng/XpUFM7EZoAKoDSA8/taNEk3ZHlkBro4paiRJOaI6J2MdlZml3TxSPA1eAHwAf6FltxAvZF7b9eXo3z2q050IZPpaP/Rm4xK5XEPLrg3sf+vfTfQcUMW+BmP7thVauEhO/wDp1o8nS6nu0MgxEaEkdoI7yTSqXZdkeI3t86DKG//9g/QcN9eqmZ/aJwSgDUwlrLMij+Px+U+bxQD+GgvcxCAu9t9/ophEE1a/B6NLNg0LkmnpVmU4tTRnU+G8//CXpDxQ373H1dB2EAdUWBE3oNE1k+9O7365EwTBQTGLYTLFWerazRnYT6pm1AHdujvSPM6GjJ1gvBYAJFJmYs/wgd787IQ1nvwifJ+RF1ragVYg2DHDbK/2nLVtmVE0KdU9sEmdq290nE4OwWPhj9HdQC1VdsQAfV8n+qzJAQpLAS9LjqFVBq4+EUXE+oqMEUUhAHb0MqIJbr3vqGU//CXDFtlCyzO330Pmui0VQkEx8FFv0KW9EEXVtyY8tGrZQ0l7kDFSOqMUSVSraEl3o41AVpbwGdjU115tvQIwUmi6zenr/pAWhJ0CHvKe2OY72jZqw6UnsXFu0Z05uUfrGpBNlQpPjYyTfNiuXBBp7MmnFsgiQRF6L+aj9DD9+RHey/VnfmOOJgDE5hXJaH5Vp183QbHTCisC8PWB+HmeI/sATyzDl4OT+oFob6nGzjzNsarI1Snbi3KPVSDpwDvtXGNAnsxn5X4JP/+1xka0c0QRW9WMnLpHb/59LcR8uHnb0B6KbfJ05HUb+biZh/T6a+Cwl4BeLBqaOivzRATVDKIDUlV9qynA6DB8Z6yheUdZA1dMhDbpqXOCxvPlbS7/Vd6nCtzMQdaIggh8E3B09X5lNy6OndBsB60attDXyekH1w9nFOxkSyBcrlVinstDjABZAGx7S3nq21p8nTKaxCIFrp0hi3UD9T+QVIO42kj05x1pGEiWE+unk7jkYCXQWEXgWIAaC1TTMlszmhnjyxRgp8jrl+8HCMqqP2P7X/4P4izZ1kOoncMQuXZzfMvdj2cAD7jcGFK6dod3EzA70IVXbtR5EmJEbs96g4rL2qDhi67fh9t4Dav+P/JWFxtXQci7g1pyNFOw036KQYlkmiEC1pguES6m0XN4fKb58UmJlv2tRB3Okj8PlTBUioH4yxgEPODdBRZjUSINudKaTvkYG9fuTTdfMrph7yKKi25s8xavOcc1xeX5IJHMveohT60FOGkCxydVweuvg5mfrIZT8gLJEDAh5bTpsul6+3HelBdhbff2ScxaotOqbWhn36wXG+ySlPg0AJKLvLWS/hM750s/q3V8bBXcLCT0zmO1R+lRGvI/90S9d6I5Km6OzZGuOjLx7CPElkkpGrzrD/TeyItJAKv+wy547W1HHDNJEKnm6cb1z9CRTKivNiYyBUtJaaaJIzMvxsPNwRFFZyVWQ055DaLtk1LjWM74Qk/u6t+oGQ58z+LA6jEHYElWfVIh33IW2P4MW2+LhPq5rLkfcMHgKU1HNPe6YiktdFiG29f9aqT4VSYFVvPRUFzR7nLYK/vXib2c8CmDi8bIcprakFL7tqBSwnH7u/bJmIrQxvEGQsJEbeOY0ruF/FV8h0PX76H4UU9refyhy3kRIfHjyxQuTe1vkrvyyxubwiWxrTjAuPRyS0TyTyX2Ln7xBdmEOTA20Tjt8+fzRqjFqA5k/DbRFkwaQN16DSPuCMGmR6chJCoYQrbIUSG2z8JAdj5JCX0ncu1yCnrn0uABI3RM6k2QfNAV4uHV302c3E0Yt6G85nM5nAcXawE6bv6Oe0pbhvcZFDwzIm9JrSw1GVyvTKYBxjNfW3OwVpVtnyYGpL5wbrtRGPvwOJFvoj4B9epDe4FGuftEQHGyNVDuUW7yANNmcsvrCVBESgDDB785AkJ5XzUt2GU8WFoOrMahOdJNwOfym8p0M7bf0EkQZ6V4TLGuLZ7oRF1Qe/qO6td1aSj/frC5jCCkQ8VquB0XJ/scAM9QN3tYlr0ltybC8y37nfNzLKGiJUrCrTe8Lqsyja1K8Xoy7GMLwDSgJ9ut4y4yTmCGs467bRVtppHIDvqMWZk42qplopL2RsmIm3aIJ4aK1aGxBknQzlHXB+cFfEeAc6TovdRpoSjtLMplwyTdJlP3fdfpWohV3LzYYrqAKpXRDwhci8QgrabPvT5rkFDvgImTxiIxRyv4pGBvAWV10J1/wwggqwihpt+jWeTCJdZ5V5oLQ29gpCXrFdU72MrAVK65VvGg+wLT3RyGOdMCTlFK6qDvnu7+ZZe4muEZ3FkeHTsrGFwHDejfFoqslHUxnQvTovnTO22wISVdMWR+mGKPxYJq/ysa/i3k6i/01p3PeThskZRQePF8FTzUcwVu76x0Fmaj4LsHmzj+qwECqq+szeDDlfd1k7peul7Gg6/XKp+S6Rh1VzI+nDkAYEBUKD0nyI6r+ZB3F3XvfnMfT0LuXXZrllHa5luopjPFNz0B8/WrycJT7dCGCwv3fFEBhpl9rjMug0tgTjZ3t3XHWhrZQiMXNCX+yT2m84EH2Ay/o8HFEBxe7Xg59xe0GGSyAU11vq1M74etT3X/ylFQhMuQl/+RafJneeXzcSPKXQqJWVjVIfB5ohrejKPGCkPuVz6NcX/ltCW/X2Po0Y+HmBM3PedhyaLw6NnKX4JqNCk8f9LAJ32Zbik+oCgoyiYLh/l+ghpXeezkAUHOjGh8zLbp8fYQA=="/>
  <p:tag name="MEKKOXMLTAGS" val="1"/>
</p:tagLst>
</file>

<file path=ppt/theme/theme1.xml><?xml version="1.0" encoding="utf-8"?>
<a:theme xmlns:a="http://schemas.openxmlformats.org/drawingml/2006/main" name="Office Theme">
  <a:themeElements>
    <a:clrScheme name="SAM color scheme v1">
      <a:dk1>
        <a:sysClr val="windowText" lastClr="000000"/>
      </a:dk1>
      <a:lt1>
        <a:sysClr val="window" lastClr="FFFFFF"/>
      </a:lt1>
      <a:dk2>
        <a:srgbClr val="B31E3D"/>
      </a:dk2>
      <a:lt2>
        <a:srgbClr val="DCD6F7"/>
      </a:lt2>
      <a:accent1>
        <a:srgbClr val="B31E3D"/>
      </a:accent1>
      <a:accent2>
        <a:srgbClr val="B4869F"/>
      </a:accent2>
      <a:accent3>
        <a:srgbClr val="6C3F98"/>
      </a:accent3>
      <a:accent4>
        <a:srgbClr val="A6B1E1"/>
      </a:accent4>
      <a:accent5>
        <a:srgbClr val="DCD6F7"/>
      </a:accent5>
      <a:accent6>
        <a:srgbClr val="000000"/>
      </a:accent6>
      <a:hlink>
        <a:srgbClr val="6C3F98"/>
      </a:hlink>
      <a:folHlink>
        <a:srgbClr val="B31E3D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000" dirty="0" err="1" smtClean="0">
            <a:latin typeface="Roboto" panose="02000000000000000000" pitchFamily="2" charset="0"/>
            <a:ea typeface="Roboto" panose="02000000000000000000" pitchFamily="2" charset="0"/>
            <a:cs typeface="Roboto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4Sep2015 - SAM basic slide template (fullscreen) v1" id="{443D1C45-00EC-4D43-BEE0-18FD409AEBDF}" vid="{E334CEBC-BC1B-403D-B127-6ECE857C0A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9</TotalTime>
  <Words>601</Words>
  <Application>Microsoft Macintosh PowerPoint</Application>
  <PresentationFormat>On-screen Show (4:3)</PresentationFormat>
  <Paragraphs>85</Paragraphs>
  <Slides>4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5" baseType="lpstr">
      <vt:lpstr>Hiragino Kaku Gothic Std W8</vt:lpstr>
      <vt:lpstr>ＭＳ Ｐゴシック</vt:lpstr>
      <vt:lpstr>Arial</vt:lpstr>
      <vt:lpstr>Calibri</vt:lpstr>
      <vt:lpstr>Georgia</vt:lpstr>
      <vt:lpstr>Helvetica</vt:lpstr>
      <vt:lpstr>Helvetica Neue</vt:lpstr>
      <vt:lpstr>Myanmar MN</vt:lpstr>
      <vt:lpstr>Roboto</vt:lpstr>
      <vt:lpstr>Roboto Medium</vt:lpstr>
      <vt:lpstr>Office Theme</vt:lpstr>
      <vt:lpstr>Lessons Learned from Marijuana Legalization</vt:lpstr>
      <vt:lpstr>Why  Who  Wha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SAM?</vt:lpstr>
      <vt:lpstr>Groups SAM collaborates with</vt:lpstr>
      <vt:lpstr>Two Organizations, One Mission</vt:lpstr>
      <vt:lpstr>What is the Marijuana Accountability Coaltion?</vt:lpstr>
      <vt:lpstr>The false dichotomy: “Legalization OR incarceration?”</vt:lpstr>
      <vt:lpstr>Three separate issues that often get conflated</vt:lpstr>
      <vt:lpstr> </vt:lpstr>
      <vt:lpstr>Marijuana use goes hand-in-hand with increased prescription opioid abuse</vt:lpstr>
      <vt:lpstr>PowerPoint Presentation</vt:lpstr>
      <vt:lpstr>PowerPoint Presentation</vt:lpstr>
      <vt:lpstr>PowerPoint Presentation</vt:lpstr>
      <vt:lpstr>…But This</vt:lpstr>
      <vt:lpstr>Marijuana has become significantly more potent since the 1960s</vt:lpstr>
      <vt:lpstr>Marijuana is not “just a plant” anymore – derivatives contain up to 98% THC </vt:lpstr>
      <vt:lpstr>The Industry Toda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ults of Legaliz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re you better off?</vt:lpstr>
      <vt:lpstr>What is happening today: Share Your Truth</vt:lpstr>
      <vt:lpstr>Pot and Pregnancy Do Not Mix</vt:lpstr>
      <vt:lpstr>What is happening today: Governor Veto</vt:lpstr>
      <vt:lpstr>Join the Action Network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ndraising plan 2017-18</dc:title>
  <dc:creator>Jeffrey Zinsmeister</dc:creator>
  <cp:lastModifiedBy>Justin Luke Riley</cp:lastModifiedBy>
  <cp:revision>83</cp:revision>
  <dcterms:created xsi:type="dcterms:W3CDTF">2016-12-28T04:02:07Z</dcterms:created>
  <dcterms:modified xsi:type="dcterms:W3CDTF">2018-10-19T12:55:29Z</dcterms:modified>
</cp:coreProperties>
</file>